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5.xml" ContentType="application/vnd.openxmlformats-officedocument.presentationml.tags+xml"/>
  <Override PartName="/ppt/charts/chart11.xml" ContentType="application/vnd.openxmlformats-officedocument.drawingml.chart+xml"/>
  <Override PartName="/ppt/tags/tag36.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7.xml" ContentType="application/vnd.openxmlformats-officedocument.presentationml.tags+xml"/>
  <Override PartName="/ppt/charts/chart16.xml" ContentType="application/vnd.openxmlformats-officedocument.drawingml.chart+xml"/>
  <Override PartName="/ppt/tags/tag38.xml" ContentType="application/vnd.openxmlformats-officedocument.presentationml.tags+xml"/>
  <Override PartName="/ppt/charts/chart17.xml" ContentType="application/vnd.openxmlformats-officedocument.drawingml.chart+xml"/>
  <Override PartName="/ppt/tags/tag39.xml" ContentType="application/vnd.openxmlformats-officedocument.presentationml.tags+xml"/>
  <Override PartName="/ppt/charts/chart18.xml" ContentType="application/vnd.openxmlformats-officedocument.drawingml.chart+xml"/>
  <Override PartName="/ppt/tags/tag40.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41.xml" ContentType="application/vnd.openxmlformats-officedocument.presentationml.tags+xml"/>
  <Override PartName="/ppt/charts/chart22.xml" ContentType="application/vnd.openxmlformats-officedocument.drawingml.chart+xml"/>
  <Override PartName="/ppt/tags/tag42.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tags/tag43.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44.xml" ContentType="application/vnd.openxmlformats-officedocument.presentationml.tags+xml"/>
  <Override PartName="/ppt/charts/chart29.xml" ContentType="application/vnd.openxmlformats-officedocument.drawingml.chart+xml"/>
  <Override PartName="/ppt/tags/tag45.xml" ContentType="application/vnd.openxmlformats-officedocument.presentationml.tags+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46.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7.xml" ContentType="application/vnd.openxmlformats-officedocument.presentationml.tags+xml"/>
  <Override PartName="/ppt/charts/chart37.xml" ContentType="application/vnd.openxmlformats-officedocument.drawingml.chart+xml"/>
  <Override PartName="/ppt/tags/tag48.xml" ContentType="application/vnd.openxmlformats-officedocument.presentationml.tags+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26"/>
  </p:notesMasterIdLst>
  <p:sldIdLst>
    <p:sldId id="2147475184" r:id="rId5"/>
    <p:sldId id="2147475185" r:id="rId6"/>
    <p:sldId id="2147475186" r:id="rId7"/>
    <p:sldId id="2147475187" r:id="rId8"/>
    <p:sldId id="2147475188" r:id="rId9"/>
    <p:sldId id="2147475189" r:id="rId10"/>
    <p:sldId id="2147475190" r:id="rId11"/>
    <p:sldId id="2147475191" r:id="rId12"/>
    <p:sldId id="2147475192" r:id="rId13"/>
    <p:sldId id="2147475193" r:id="rId14"/>
    <p:sldId id="2147475194" r:id="rId15"/>
    <p:sldId id="2147475195" r:id="rId16"/>
    <p:sldId id="2147475196" r:id="rId17"/>
    <p:sldId id="2147475197" r:id="rId18"/>
    <p:sldId id="2147475198" r:id="rId19"/>
    <p:sldId id="2147475199" r:id="rId20"/>
    <p:sldId id="2147475200" r:id="rId21"/>
    <p:sldId id="2147475201" r:id="rId22"/>
    <p:sldId id="2147475202" r:id="rId23"/>
    <p:sldId id="2147475203" r:id="rId24"/>
    <p:sldId id="2147475204" r:id="rId2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7" autoAdjust="0"/>
    <p:restoredTop sz="94660"/>
  </p:normalViewPr>
  <p:slideViewPr>
    <p:cSldViewPr snapToGrid="0" showGuides="1">
      <p:cViewPr varScale="1">
        <p:scale>
          <a:sx n="122" d="100"/>
          <a:sy n="122" d="100"/>
        </p:scale>
        <p:origin x="355" y="43"/>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dvanced Protection Lotion FPS50+ 36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006C6D"/>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7ECAC4"/>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7ECAC4"/>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7ECAC4"/>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7ECAC4"/>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r>
                      <a:rPr lang="en-US" sz="500">
                        <a:solidFill>
                          <a:srgbClr val="006C6D"/>
                        </a:solidFill>
                      </a:rPr>
                      <a:t>Banana Boat Advanced Protection Lotion FPS50+ 36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Banana Boat Advanced Protection Lotion FPS50+ 360ml</c:v>
                </c:pt>
                <c:pt idx="11">
                  <c:v>Nivea Sun Babies &amp; Kids Lotion FPS50+ 200ml</c:v>
                </c:pt>
                <c:pt idx="12">
                  <c:v>Nivea Sun Protect &amp; Refresh Sport Spray FPS50 200ml</c:v>
                </c:pt>
                <c:pt idx="13">
                  <c:v>Equate Sport Lotion FPS30 237ml</c:v>
                </c:pt>
                <c:pt idx="14">
                  <c:v>Banana Boat Aqua Protect Kids Cream FPS50+ 236ml</c:v>
                </c:pt>
                <c:pt idx="15">
                  <c:v>Equate Ultra Spray FPS50 156g</c:v>
                </c:pt>
                <c:pt idx="16">
                  <c:v>Nivea Sun Protect &amp; Refresh Sport Invisible Spray FPS50 200ml</c:v>
                </c:pt>
                <c:pt idx="17">
                  <c:v>Hawaiian Tropic Sheer Touch Lotion FPS30 240ml</c:v>
                </c:pt>
                <c:pt idx="18">
                  <c:v>Nivea Sun Face Shine Control FPS50+ 50ml</c:v>
                </c:pt>
                <c:pt idx="19">
                  <c:v>Nivea Sun Kids Swim &amp; Play Gel FPS50+ 150ml</c:v>
                </c:pt>
                <c:pt idx="20">
                  <c:v>Neutrogena Sun Fresh Cream FPS50 200ml</c:v>
                </c:pt>
                <c:pt idx="21">
                  <c:v>Hawaiian Tropic Sheer Touch Lotion FPS50 120ml</c:v>
                </c:pt>
                <c:pt idx="22">
                  <c:v>Equate Kids Lotion FPS50 237ml</c:v>
                </c:pt>
                <c:pt idx="23">
                  <c:v>Caribbean Beach Sport Cream FPS50+ 250g</c:v>
                </c:pt>
                <c:pt idx="24">
                  <c:v>Banana Boat Dry Balance Sport Spray FPS50 170ml</c:v>
                </c:pt>
                <c:pt idx="25">
                  <c:v>La Roche Posay Anthelios Uvmune 400 Fluid FPS50+ 50ml</c:v>
                </c:pt>
                <c:pt idx="26">
                  <c:v>Caribbean Beach Ultra Cream FPS50+ 250g</c:v>
                </c:pt>
                <c:pt idx="27">
                  <c:v>Nivea Sun Face Sensitive Skin FPS50 50ml</c:v>
                </c:pt>
                <c:pt idx="28">
                  <c:v>Eucerin Gel-Cream FPS50+ 50ml</c:v>
                </c:pt>
                <c:pt idx="29">
                  <c:v>Neutrogena Sun Fresh Cream FPS50 120ml</c:v>
                </c:pt>
                <c:pt idx="30">
                  <c:v>Caribbean Beach Advanced Protection Cream FPS50+ 150g</c:v>
                </c:pt>
                <c:pt idx="31">
                  <c:v>Nivea Sun Face Stain Control FPS50+ 40ml</c:v>
                </c:pt>
                <c:pt idx="32">
                  <c:v>Nivea Sun Kids Protect &amp; Sensitive Spray FPS50+ 200ml</c:v>
                </c:pt>
                <c:pt idx="33">
                  <c:v>Caribbean Beach Sport Cream FPS50+ 150g</c:v>
                </c:pt>
                <c:pt idx="34">
                  <c:v>Hawaiian Tropic Silk Hydration Lotion FPS50 180ml</c:v>
                </c:pt>
                <c:pt idx="35">
                  <c:v>Garnier Super UV Serum FPS50+ 40ml</c:v>
                </c:pt>
                <c:pt idx="36">
                  <c:v>L'Oréal Paris UV DEFENDER Colored Fluid FPS50+ 40g</c:v>
                </c:pt>
                <c:pt idx="37">
                  <c:v>Hawaiian Tropic Ozono Lotion FPS50+ 120ml</c:v>
                </c:pt>
                <c:pt idx="38">
                  <c:v>Caribbean Beach Kids Cream FPS50+ 250g</c:v>
                </c:pt>
                <c:pt idx="39">
                  <c:v>Isdin Fotoprotector Fusion Water FPS50+ 50ml</c:v>
                </c:pt>
                <c:pt idx="40">
                  <c:v>Garnier Super UV Cream FPS50+ 40g</c:v>
                </c:pt>
                <c:pt idx="41">
                  <c:v>Nivea Sun Face Fluid Invisible FPS50+ 40ml</c:v>
                </c:pt>
                <c:pt idx="42">
                  <c:v>Nuvel Suncare Mineral FPS50 120ml</c:v>
                </c:pt>
                <c:pt idx="43">
                  <c:v>Nuvel Suncare Ultra Protection FPS50 120ml</c:v>
                </c:pt>
                <c:pt idx="44">
                  <c:v>La Roche Posay Anthelios XL Gel-Cream FPS50+ 5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Banana Boat Dry Balance Sport Lotion FPS50+ 180ml</c:v>
                </c:pt>
                <c:pt idx="55">
                  <c:v>Nuvel Suncare Kids Protection FPS50 120ml</c:v>
                </c:pt>
                <c:pt idx="56">
                  <c:v>Isdin Fotoprotector Face and Body Gel-Cream FPS50+ 250ml</c:v>
                </c:pt>
                <c:pt idx="57">
                  <c:v>Caribbean Beach Vitamin E Face Cream FPS50+ 85ml</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2902696563217604E-2</c:v>
                </c:pt>
                <c:pt idx="1">
                  <c:v>5.6630509127297259E-2</c:v>
                </c:pt>
                <c:pt idx="2">
                  <c:v>4.9936740943821188E-2</c:v>
                </c:pt>
                <c:pt idx="3">
                  <c:v>4.4755762845946241E-2</c:v>
                </c:pt>
                <c:pt idx="4">
                  <c:v>4.2176116851182888E-2</c:v>
                </c:pt>
                <c:pt idx="5">
                  <c:v>4.1731319923749469E-2</c:v>
                </c:pt>
                <c:pt idx="6">
                  <c:v>3.3706068333904937E-2</c:v>
                </c:pt>
                <c:pt idx="7">
                  <c:v>3.0363668090319727E-2</c:v>
                </c:pt>
                <c:pt idx="8">
                  <c:v>2.6779876806918835E-2</c:v>
                </c:pt>
                <c:pt idx="9">
                  <c:v>2.6164416104421797E-2</c:v>
                </c:pt>
                <c:pt idx="10">
                  <c:v>2.2902034357684922E-2</c:v>
                </c:pt>
                <c:pt idx="11">
                  <c:v>2.2275396443576765E-2</c:v>
                </c:pt>
                <c:pt idx="12">
                  <c:v>2.2036516997081815E-2</c:v>
                </c:pt>
                <c:pt idx="13">
                  <c:v>1.9843970616742344E-2</c:v>
                </c:pt>
                <c:pt idx="14">
                  <c:v>1.894420717595607E-2</c:v>
                </c:pt>
                <c:pt idx="15">
                  <c:v>1.7135871823037819E-2</c:v>
                </c:pt>
                <c:pt idx="16">
                  <c:v>1.6840448858584996E-2</c:v>
                </c:pt>
                <c:pt idx="17">
                  <c:v>1.6787939975265297E-2</c:v>
                </c:pt>
                <c:pt idx="18">
                  <c:v>1.5113034678783461E-2</c:v>
                </c:pt>
                <c:pt idx="19">
                  <c:v>1.469089529183296E-2</c:v>
                </c:pt>
                <c:pt idx="20">
                  <c:v>1.4331332006337436E-2</c:v>
                </c:pt>
                <c:pt idx="21">
                  <c:v>1.3863142051431918E-2</c:v>
                </c:pt>
                <c:pt idx="22">
                  <c:v>1.3249671453159296E-2</c:v>
                </c:pt>
                <c:pt idx="23">
                  <c:v>1.2193855474078891E-2</c:v>
                </c:pt>
                <c:pt idx="24">
                  <c:v>1.2016338477234155E-2</c:v>
                </c:pt>
                <c:pt idx="25">
                  <c:v>1.1890542110341752E-2</c:v>
                </c:pt>
                <c:pt idx="26">
                  <c:v>1.1771670177805981E-2</c:v>
                </c:pt>
                <c:pt idx="27">
                  <c:v>1.1642339718564343E-2</c:v>
                </c:pt>
                <c:pt idx="28">
                  <c:v>1.0776043796204681E-2</c:v>
                </c:pt>
                <c:pt idx="29">
                  <c:v>1.0445451555638492E-2</c:v>
                </c:pt>
                <c:pt idx="30">
                  <c:v>1.022278626788393E-2</c:v>
                </c:pt>
                <c:pt idx="31">
                  <c:v>9.8064959956690335E-3</c:v>
                </c:pt>
                <c:pt idx="32">
                  <c:v>9.7450206900186846E-3</c:v>
                </c:pt>
                <c:pt idx="33">
                  <c:v>9.5754875764672183E-3</c:v>
                </c:pt>
                <c:pt idx="34">
                  <c:v>9.3637388663031437E-3</c:v>
                </c:pt>
                <c:pt idx="35">
                  <c:v>9.2146761267718185E-3</c:v>
                </c:pt>
                <c:pt idx="36">
                  <c:v>9.1649070939618764E-3</c:v>
                </c:pt>
                <c:pt idx="37">
                  <c:v>9.1260705283526915E-3</c:v>
                </c:pt>
                <c:pt idx="38">
                  <c:v>9.0884901947301325E-3</c:v>
                </c:pt>
                <c:pt idx="39">
                  <c:v>7.4498045104562129E-3</c:v>
                </c:pt>
                <c:pt idx="40">
                  <c:v>7.1646108884885311E-3</c:v>
                </c:pt>
                <c:pt idx="41">
                  <c:v>6.9252414679242744E-3</c:v>
                </c:pt>
                <c:pt idx="42">
                  <c:v>6.862113537492589E-3</c:v>
                </c:pt>
                <c:pt idx="43">
                  <c:v>6.8001331637889293E-3</c:v>
                </c:pt>
                <c:pt idx="44">
                  <c:v>6.5833476123778973E-3</c:v>
                </c:pt>
                <c:pt idx="45">
                  <c:v>6.492117934340986E-3</c:v>
                </c:pt>
                <c:pt idx="46">
                  <c:v>6.406379588858398E-3</c:v>
                </c:pt>
                <c:pt idx="47">
                  <c:v>6.0352459632930355E-3</c:v>
                </c:pt>
                <c:pt idx="48">
                  <c:v>5.9756640830342994E-3</c:v>
                </c:pt>
                <c:pt idx="49">
                  <c:v>5.4795632183837917E-3</c:v>
                </c:pt>
                <c:pt idx="50">
                  <c:v>5.166198323589449E-3</c:v>
                </c:pt>
                <c:pt idx="51">
                  <c:v>5.1460421165477029E-3</c:v>
                </c:pt>
                <c:pt idx="52">
                  <c:v>4.9484084069518807E-3</c:v>
                </c:pt>
                <c:pt idx="53">
                  <c:v>4.7480763756090824E-3</c:v>
                </c:pt>
                <c:pt idx="54">
                  <c:v>4.6408149680953071E-3</c:v>
                </c:pt>
                <c:pt idx="55">
                  <c:v>4.6398858998477508E-3</c:v>
                </c:pt>
                <c:pt idx="56">
                  <c:v>4.5295746495927257E-3</c:v>
                </c:pt>
                <c:pt idx="57">
                  <c:v>4.4782357718375441E-3</c:v>
                </c:pt>
                <c:pt idx="58">
                  <c:v>4.0913611404720185E-3</c:v>
                </c:pt>
                <c:pt idx="59">
                  <c:v>4.0604046377638219E-3</c:v>
                </c:pt>
                <c:pt idx="60">
                  <c:v>3.8997032300004705E-3</c:v>
                </c:pt>
                <c:pt idx="61">
                  <c:v>3.7592016307576325E-3</c:v>
                </c:pt>
                <c:pt idx="62">
                  <c:v>3.5737618876323885E-3</c:v>
                </c:pt>
                <c:pt idx="63">
                  <c:v>3.4028550133423366E-3</c:v>
                </c:pt>
                <c:pt idx="64">
                  <c:v>3.0207410873285844E-3</c:v>
                </c:pt>
                <c:pt idx="65">
                  <c:v>2.9884937202429296E-3</c:v>
                </c:pt>
                <c:pt idx="66">
                  <c:v>2.7667207756866727E-3</c:v>
                </c:pt>
                <c:pt idx="67">
                  <c:v>2.6770993922014996E-3</c:v>
                </c:pt>
                <c:pt idx="68">
                  <c:v>1.8526328014753127E-3</c:v>
                </c:pt>
                <c:pt idx="69">
                  <c:v>1.6413048509523285E-3</c:v>
                </c:pt>
                <c:pt idx="70">
                  <c:v>1.6150046548574393E-3</c:v>
                </c:pt>
                <c:pt idx="71">
                  <c:v>1.4827972271626467E-3</c:v>
                </c:pt>
                <c:pt idx="72">
                  <c:v>1.465708457961776E-3</c:v>
                </c:pt>
                <c:pt idx="73">
                  <c:v>1.2778729649721068E-3</c:v>
                </c:pt>
                <c:pt idx="74">
                  <c:v>1.1971447721517538E-3</c:v>
                </c:pt>
                <c:pt idx="75">
                  <c:v>1.1359343029434317E-3</c:v>
                </c:pt>
                <c:pt idx="76">
                  <c:v>1.1155725592433417E-3</c:v>
                </c:pt>
                <c:pt idx="77">
                  <c:v>1.0742914257065115E-3</c:v>
                </c:pt>
                <c:pt idx="78">
                  <c:v>9.0361949440726538E-4</c:v>
                </c:pt>
                <c:pt idx="79">
                  <c:v>7.1063984230039924E-4</c:v>
                </c:pt>
                <c:pt idx="80">
                  <c:v>6.1012367964522829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Lip Oil FPS50+ 1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7ECAC4"/>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7ECAC4"/>
              </a:solidFill>
            </c:spPr>
            <c:extLst>
              <c:ext xmlns:c16="http://schemas.microsoft.com/office/drawing/2014/chart" uri="{C3380CC4-5D6E-409C-BE32-E72D297353CC}">
                <c16:uniqueId val="{0000000F-999B-42C0-A7D9-A2057CE05A51}"/>
              </c:ext>
            </c:extLst>
          </c:dPt>
          <c:dPt>
            <c:idx val="8"/>
            <c:invertIfNegative val="1"/>
            <c:bubble3D val="0"/>
            <c:spPr>
              <a:solidFill>
                <a:srgbClr val="7ECAC4"/>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7ECAC4"/>
              </a:solidFill>
            </c:spPr>
            <c:extLst>
              <c:ext xmlns:c16="http://schemas.microsoft.com/office/drawing/2014/chart" uri="{C3380CC4-5D6E-409C-BE32-E72D297353CC}">
                <c16:uniqueId val="{0000001B-999B-42C0-A7D9-A2057CE05A51}"/>
              </c:ext>
            </c:extLst>
          </c:dPt>
          <c:dPt>
            <c:idx val="14"/>
            <c:invertIfNegative val="0"/>
            <c:bubble3D val="0"/>
            <c:spPr>
              <a:solidFill>
                <a:srgbClr val="7ECAC4"/>
              </a:solidFill>
            </c:spPr>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7ECAC4"/>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7ECAC4"/>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7ECAC4"/>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7ECAC4"/>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7ECAC4"/>
              </a:solidFill>
            </c:spPr>
            <c:extLst>
              <c:ext xmlns:c16="http://schemas.microsoft.com/office/drawing/2014/chart" uri="{C3380CC4-5D6E-409C-BE32-E72D297353CC}">
                <c16:uniqueId val="{0000005B-999B-42C0-A7D9-A2057CE05A51}"/>
              </c:ext>
            </c:extLst>
          </c:dPt>
          <c:dPt>
            <c:idx val="46"/>
            <c:invertIfNegative val="1"/>
            <c:bubble3D val="0"/>
            <c:spPr>
              <a:solidFill>
                <a:srgbClr val="7ECAC4"/>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spPr>
              <a:solidFill>
                <a:srgbClr val="7ECAC4"/>
              </a:solidFill>
            </c:spPr>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7ECAC4"/>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7ECAC4"/>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7ECAC4"/>
              </a:solidFill>
            </c:spPr>
            <c:extLst>
              <c:ext xmlns:c16="http://schemas.microsoft.com/office/drawing/2014/chart" uri="{C3380CC4-5D6E-409C-BE32-E72D297353CC}">
                <c16:uniqueId val="{0000007B-999B-42C0-A7D9-A2057CE05A51}"/>
              </c:ext>
            </c:extLst>
          </c:dPt>
          <c:dPt>
            <c:idx val="62"/>
            <c:invertIfNegative val="1"/>
            <c:bubble3D val="0"/>
            <c:spPr>
              <a:solidFill>
                <a:srgbClr val="7ECAC4"/>
              </a:solidFill>
            </c:spPr>
            <c:extLst>
              <c:ext xmlns:c16="http://schemas.microsoft.com/office/drawing/2014/chart" uri="{C3380CC4-5D6E-409C-BE32-E72D297353CC}">
                <c16:uniqueId val="{0000007D-999B-42C0-A7D9-A2057CE05A51}"/>
              </c:ext>
            </c:extLst>
          </c:dPt>
          <c:dPt>
            <c:idx val="63"/>
            <c:invertIfNegative val="1"/>
            <c:bubble3D val="0"/>
            <c:spPr>
              <a:solidFill>
                <a:srgbClr val="006C6D"/>
              </a:solidFill>
            </c:spPr>
            <c:extLst>
              <c:ext xmlns:c16="http://schemas.microsoft.com/office/drawing/2014/chart" uri="{C3380CC4-5D6E-409C-BE32-E72D297353CC}">
                <c16:uniqueId val="{0000007F-999B-42C0-A7D9-A2057CE05A51}"/>
              </c:ext>
            </c:extLst>
          </c:dPt>
          <c:dPt>
            <c:idx val="64"/>
            <c:invertIfNegative val="1"/>
            <c:bubble3D val="0"/>
            <c:spPr>
              <a:solidFill>
                <a:srgbClr val="7ECAC4"/>
              </a:solidFill>
            </c:spPr>
            <c:extLst>
              <c:ext xmlns:c16="http://schemas.microsoft.com/office/drawing/2014/chart" uri="{C3380CC4-5D6E-409C-BE32-E72D297353CC}">
                <c16:uniqueId val="{00000081-999B-42C0-A7D9-A2057CE05A51}"/>
              </c:ext>
            </c:extLst>
          </c:dPt>
          <c:dPt>
            <c:idx val="65"/>
            <c:invertIfNegative val="1"/>
            <c:bubble3D val="0"/>
            <c:spPr>
              <a:solidFill>
                <a:srgbClr val="7ECAC4"/>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7ECAC4"/>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7ECAC4"/>
              </a:solidFill>
            </c:spPr>
            <c:extLst>
              <c:ext xmlns:c16="http://schemas.microsoft.com/office/drawing/2014/chart" uri="{C3380CC4-5D6E-409C-BE32-E72D297353CC}">
                <c16:uniqueId val="{0000008D-999B-42C0-A7D9-A2057CE05A51}"/>
              </c:ext>
            </c:extLst>
          </c:dPt>
          <c:dPt>
            <c:idx val="71"/>
            <c:invertIfNegative val="1"/>
            <c:bubble3D val="0"/>
            <c:spPr>
              <a:solidFill>
                <a:srgbClr val="7ECAC4"/>
              </a:solidFill>
            </c:spPr>
            <c:extLst>
              <c:ext xmlns:c16="http://schemas.microsoft.com/office/drawing/2014/chart" uri="{C3380CC4-5D6E-409C-BE32-E72D297353CC}">
                <c16:uniqueId val="{0000008F-999B-42C0-A7D9-A2057CE05A51}"/>
              </c:ext>
            </c:extLst>
          </c:dPt>
          <c:dPt>
            <c:idx val="72"/>
            <c:invertIfNegative val="1"/>
            <c:bubble3D val="0"/>
            <c:spPr>
              <a:solidFill>
                <a:srgbClr val="7ECAC4"/>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7ECAC4"/>
              </a:solidFill>
            </c:spPr>
            <c:extLst>
              <c:ext xmlns:c16="http://schemas.microsoft.com/office/drawing/2014/chart" uri="{C3380CC4-5D6E-409C-BE32-E72D297353CC}">
                <c16:uniqueId val="{00000095-999B-42C0-A7D9-A2057CE05A51}"/>
              </c:ext>
            </c:extLst>
          </c:dPt>
          <c:dPt>
            <c:idx val="75"/>
            <c:invertIfNegative val="1"/>
            <c:bubble3D val="0"/>
            <c:spPr>
              <a:solidFill>
                <a:srgbClr val="7ECAC4"/>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7ECAC4"/>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r>
                      <a:rPr lang="en-US" sz="500">
                        <a:solidFill>
                          <a:srgbClr val="006C6D"/>
                        </a:solidFill>
                      </a:rPr>
                      <a:t>Beautycare Glow Lip Oil FPS5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eautycare Glow Lip Oil FPS50+ 10g</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65363330782884E-2</c:v>
                </c:pt>
                <c:pt idx="1">
                  <c:v>5.7663352032594602E-2</c:v>
                </c:pt>
                <c:pt idx="2">
                  <c:v>5.100430735339255E-2</c:v>
                </c:pt>
                <c:pt idx="3">
                  <c:v>4.5244427178931665E-2</c:v>
                </c:pt>
                <c:pt idx="4">
                  <c:v>4.3501885721937132E-2</c:v>
                </c:pt>
                <c:pt idx="5">
                  <c:v>4.3476876429684994E-2</c:v>
                </c:pt>
                <c:pt idx="6">
                  <c:v>3.5586986484869958E-2</c:v>
                </c:pt>
                <c:pt idx="7">
                  <c:v>3.1145622055832978E-2</c:v>
                </c:pt>
                <c:pt idx="8">
                  <c:v>2.7945082488151429E-2</c:v>
                </c:pt>
                <c:pt idx="9">
                  <c:v>2.7192715317405393E-2</c:v>
                </c:pt>
                <c:pt idx="10">
                  <c:v>2.2663886467339446E-2</c:v>
                </c:pt>
                <c:pt idx="11">
                  <c:v>2.2604789329574135E-2</c:v>
                </c:pt>
                <c:pt idx="12">
                  <c:v>2.0304248410633108E-2</c:v>
                </c:pt>
                <c:pt idx="13">
                  <c:v>1.9410380477848672E-2</c:v>
                </c:pt>
                <c:pt idx="14">
                  <c:v>1.7286745111879054E-2</c:v>
                </c:pt>
                <c:pt idx="15">
                  <c:v>1.7246761206306652E-2</c:v>
                </c:pt>
                <c:pt idx="16">
                  <c:v>1.7106427601497297E-2</c:v>
                </c:pt>
                <c:pt idx="17">
                  <c:v>1.5264032808869055E-2</c:v>
                </c:pt>
                <c:pt idx="18">
                  <c:v>1.4793966406515978E-2</c:v>
                </c:pt>
                <c:pt idx="19">
                  <c:v>1.4620560027625927E-2</c:v>
                </c:pt>
                <c:pt idx="20">
                  <c:v>1.4058945045949199E-2</c:v>
                </c:pt>
                <c:pt idx="21">
                  <c:v>1.3479982977963672E-2</c:v>
                </c:pt>
                <c:pt idx="22">
                  <c:v>1.2432714629695902E-2</c:v>
                </c:pt>
                <c:pt idx="23">
                  <c:v>1.2194142376778712E-2</c:v>
                </c:pt>
                <c:pt idx="24">
                  <c:v>1.1996797459990095E-2</c:v>
                </c:pt>
                <c:pt idx="25">
                  <c:v>1.1980051767330586E-2</c:v>
                </c:pt>
                <c:pt idx="26">
                  <c:v>1.174717905662644E-2</c:v>
                </c:pt>
                <c:pt idx="27">
                  <c:v>1.0815544310509989E-2</c:v>
                </c:pt>
                <c:pt idx="28">
                  <c:v>1.0518114933601519E-2</c:v>
                </c:pt>
                <c:pt idx="29">
                  <c:v>1.0338663898469823E-2</c:v>
                </c:pt>
                <c:pt idx="30">
                  <c:v>9.8754535506714158E-3</c:v>
                </c:pt>
                <c:pt idx="31">
                  <c:v>9.8613851497115976E-3</c:v>
                </c:pt>
                <c:pt idx="32">
                  <c:v>9.7107846280639031E-3</c:v>
                </c:pt>
                <c:pt idx="33">
                  <c:v>9.5984375113375119E-3</c:v>
                </c:pt>
                <c:pt idx="34">
                  <c:v>9.2635009997645464E-3</c:v>
                </c:pt>
                <c:pt idx="35">
                  <c:v>9.2421709185695079E-3</c:v>
                </c:pt>
                <c:pt idx="36">
                  <c:v>9.241758438943027E-3</c:v>
                </c:pt>
                <c:pt idx="37">
                  <c:v>9.2331230824961395E-3</c:v>
                </c:pt>
                <c:pt idx="38">
                  <c:v>7.5372376652848242E-3</c:v>
                </c:pt>
                <c:pt idx="39">
                  <c:v>7.2008462027806641E-3</c:v>
                </c:pt>
                <c:pt idx="40">
                  <c:v>7.0067565630807125E-3</c:v>
                </c:pt>
                <c:pt idx="41">
                  <c:v>6.9281788120882405E-3</c:v>
                </c:pt>
                <c:pt idx="42">
                  <c:v>6.8380039197245522E-3</c:v>
                </c:pt>
                <c:pt idx="43">
                  <c:v>6.6385242304431028E-3</c:v>
                </c:pt>
                <c:pt idx="44">
                  <c:v>6.5586196581957608E-3</c:v>
                </c:pt>
                <c:pt idx="45">
                  <c:v>6.5019497107507412E-3</c:v>
                </c:pt>
                <c:pt idx="46">
                  <c:v>6.1302037575084239E-3</c:v>
                </c:pt>
                <c:pt idx="47">
                  <c:v>6.0436865902149649E-3</c:v>
                </c:pt>
                <c:pt idx="48">
                  <c:v>5.546865072915721E-3</c:v>
                </c:pt>
                <c:pt idx="49">
                  <c:v>5.2660150102755614E-3</c:v>
                </c:pt>
                <c:pt idx="50">
                  <c:v>5.2198578960517654E-3</c:v>
                </c:pt>
                <c:pt idx="51">
                  <c:v>5.0279370627387089E-3</c:v>
                </c:pt>
                <c:pt idx="52">
                  <c:v>4.8299454633874053E-3</c:v>
                </c:pt>
                <c:pt idx="53">
                  <c:v>4.8040544314569139E-3</c:v>
                </c:pt>
                <c:pt idx="54">
                  <c:v>4.70637819539684E-3</c:v>
                </c:pt>
                <c:pt idx="55">
                  <c:v>4.581676025599335E-3</c:v>
                </c:pt>
                <c:pt idx="56">
                  <c:v>4.5280570247461568E-3</c:v>
                </c:pt>
                <c:pt idx="57">
                  <c:v>4.1590085170050625E-3</c:v>
                </c:pt>
                <c:pt idx="58">
                  <c:v>4.0981605228296199E-3</c:v>
                </c:pt>
                <c:pt idx="59">
                  <c:v>3.9385843665243597E-3</c:v>
                </c:pt>
                <c:pt idx="60">
                  <c:v>3.7802171237880651E-3</c:v>
                </c:pt>
                <c:pt idx="61">
                  <c:v>3.6439012260804011E-3</c:v>
                </c:pt>
                <c:pt idx="62">
                  <c:v>3.4456504339253542E-3</c:v>
                </c:pt>
                <c:pt idx="63">
                  <c:v>3.0843979620152847E-3</c:v>
                </c:pt>
                <c:pt idx="64">
                  <c:v>3.0818098712687048E-3</c:v>
                </c:pt>
                <c:pt idx="65">
                  <c:v>3.0506102977676435E-3</c:v>
                </c:pt>
                <c:pt idx="66">
                  <c:v>2.7786697426925807E-3</c:v>
                </c:pt>
                <c:pt idx="67">
                  <c:v>2.6824828126553678E-3</c:v>
                </c:pt>
                <c:pt idx="68">
                  <c:v>1.8634259624505827E-3</c:v>
                </c:pt>
                <c:pt idx="69">
                  <c:v>1.6473505071384095E-3</c:v>
                </c:pt>
                <c:pt idx="70">
                  <c:v>1.6337335887432545E-3</c:v>
                </c:pt>
                <c:pt idx="71">
                  <c:v>1.4964265329615782E-3</c:v>
                </c:pt>
                <c:pt idx="72">
                  <c:v>1.4845445129406797E-3</c:v>
                </c:pt>
                <c:pt idx="73">
                  <c:v>1.2877617639683375E-3</c:v>
                </c:pt>
                <c:pt idx="74">
                  <c:v>1.2281968971605529E-3</c:v>
                </c:pt>
                <c:pt idx="75">
                  <c:v>1.1518228308905983E-3</c:v>
                </c:pt>
                <c:pt idx="76">
                  <c:v>1.1221703086607298E-3</c:v>
                </c:pt>
                <c:pt idx="77">
                  <c:v>1.0797803405679905E-3</c:v>
                </c:pt>
                <c:pt idx="78">
                  <c:v>9.1722636643628869E-4</c:v>
                </c:pt>
                <c:pt idx="79">
                  <c:v>7.1478341686742207E-4</c:v>
                </c:pt>
                <c:pt idx="80">
                  <c:v>6.1732382387483351E-4</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eautycar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B$2:$B$5</c:f>
              <c:numCache>
                <c:formatCode>General</c:formatCode>
                <c:ptCount val="4"/>
                <c:pt idx="0">
                  <c:v>206.23259008252353</c:v>
                </c:pt>
                <c:pt idx="1">
                  <c:v>140.18814601698699</c:v>
                </c:pt>
                <c:pt idx="2">
                  <c:v>143.17403026146178</c:v>
                </c:pt>
                <c:pt idx="3">
                  <c:v>458.94919183910156</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eautycare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C$2:$C$5</c:f>
              <c:numCache>
                <c:formatCode>General</c:formatCode>
                <c:ptCount val="4"/>
                <c:pt idx="0">
                  <c:v>214.00129936485231</c:v>
                </c:pt>
                <c:pt idx="1">
                  <c:v>143.44649542245381</c:v>
                </c:pt>
                <c:pt idx="2">
                  <c:v>140.46699601443333</c:v>
                </c:pt>
                <c:pt idx="3">
                  <c:v>334.647064538991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eautycar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D$2:$D$5</c:f>
              <c:numCache>
                <c:formatCode>General</c:formatCode>
                <c:ptCount val="4"/>
                <c:pt idx="0">
                  <c:v>212.53536054399723</c:v>
                </c:pt>
                <c:pt idx="1">
                  <c:v>146.89964389334978</c:v>
                </c:pt>
                <c:pt idx="2">
                  <c:v>121.80832831678146</c:v>
                </c:pt>
                <c:pt idx="3">
                  <c:v>325.81391223252319</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Beautycare Glow Stick FPS50 2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5.0200645944209164E-2</c:v>
                </c:pt>
                <c:pt idx="1">
                  <c:v>4.9475727089901909E-2</c:v>
                </c:pt>
                <c:pt idx="2">
                  <c:v>3.9654566115325467E-2</c:v>
                </c:pt>
                <c:pt idx="3">
                  <c:v>2.7610977645276896E-2</c:v>
                </c:pt>
                <c:pt idx="4">
                  <c:v>2.9304774676602384E-2</c:v>
                </c:pt>
                <c:pt idx="5">
                  <c:v>2.7941536866177355E-2</c:v>
                </c:pt>
                <c:pt idx="6">
                  <c:v>2.5515503283629275E-2</c:v>
                </c:pt>
                <c:pt idx="7">
                  <c:v>2.6235033920236666E-2</c:v>
                </c:pt>
                <c:pt idx="8">
                  <c:v>2.5161615886038241E-2</c:v>
                </c:pt>
                <c:pt idx="9">
                  <c:v>2.265206039296699E-2</c:v>
                </c:pt>
                <c:pt idx="10">
                  <c:v>2.0285862039869026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Beautycare Glow Serum FPS50 3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5.9633871259705443E-2</c:v>
                </c:pt>
                <c:pt idx="1">
                  <c:v>5.922784457968519E-2</c:v>
                </c:pt>
                <c:pt idx="2">
                  <c:v>3.6450407068832166E-2</c:v>
                </c:pt>
                <c:pt idx="3">
                  <c:v>3.6136869492586272E-2</c:v>
                </c:pt>
                <c:pt idx="4">
                  <c:v>4.4444071845679355E-2</c:v>
                </c:pt>
                <c:pt idx="5">
                  <c:v>2.7680119672620591E-2</c:v>
                </c:pt>
                <c:pt idx="6">
                  <c:v>2.759075676902643E-2</c:v>
                </c:pt>
                <c:pt idx="7">
                  <c:v>2.4733816967755853E-2</c:v>
                </c:pt>
                <c:pt idx="8">
                  <c:v>2.2787901459555816E-2</c:v>
                </c:pt>
                <c:pt idx="9">
                  <c:v>2.4743402780309069E-2</c:v>
                </c:pt>
                <c:pt idx="10">
                  <c:v>2.6389677390072815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eautycare Pro Age Color Face Fluid FPS50+ 5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5.2971425273393359E-2</c:v>
                </c:pt>
                <c:pt idx="1">
                  <c:v>4.6030223846736509E-2</c:v>
                </c:pt>
                <c:pt idx="2">
                  <c:v>3.7522353519911573E-2</c:v>
                </c:pt>
                <c:pt idx="3">
                  <c:v>3.7332197183649891E-2</c:v>
                </c:pt>
                <c:pt idx="4">
                  <c:v>3.2895586638205486E-2</c:v>
                </c:pt>
                <c:pt idx="5">
                  <c:v>2.1899565137899521E-2</c:v>
                </c:pt>
                <c:pt idx="6">
                  <c:v>2.5329025010254216E-2</c:v>
                </c:pt>
                <c:pt idx="7">
                  <c:v>2.493543879889602E-2</c:v>
                </c:pt>
                <c:pt idx="8">
                  <c:v>2.4901879390780236E-2</c:v>
                </c:pt>
                <c:pt idx="9">
                  <c:v>2.0902492445837705E-2</c:v>
                </c:pt>
                <c:pt idx="10">
                  <c:v>2.4120583750271249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eautycare Glow Lip Oil FPS50+ 1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5.5779112886499449E-2</c:v>
                </c:pt>
                <c:pt idx="1">
                  <c:v>4.775289498011611E-2</c:v>
                </c:pt>
                <c:pt idx="2">
                  <c:v>3.4409851628488627E-2</c:v>
                </c:pt>
                <c:pt idx="3">
                  <c:v>3.96819797020872E-2</c:v>
                </c:pt>
                <c:pt idx="4">
                  <c:v>2.875422641490925E-2</c:v>
                </c:pt>
                <c:pt idx="5">
                  <c:v>2.4431862219022871E-2</c:v>
                </c:pt>
                <c:pt idx="6">
                  <c:v>2.3498127841630537E-2</c:v>
                </c:pt>
                <c:pt idx="7">
                  <c:v>1.971761282814723E-2</c:v>
                </c:pt>
                <c:pt idx="8">
                  <c:v>2.2323585054478619E-2</c:v>
                </c:pt>
                <c:pt idx="9">
                  <c:v>2.4213425691536436E-2</c:v>
                </c:pt>
                <c:pt idx="10">
                  <c:v>2.1711277649206582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Kids Sport Spray FPS50+ 24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7ECAC4"/>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006C6D"/>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r>
                      <a:rPr lang="en-US" sz="500">
                        <a:solidFill>
                          <a:srgbClr val="006C6D"/>
                        </a:solidFill>
                      </a:rPr>
                      <a:t>Banana Boat Kids Sport Spray FPS50+ 2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Caribbean Beach Ultra Cream FPS50+ 250g</c:v>
                </c:pt>
                <c:pt idx="24">
                  <c:v>La Roche Posay Anthelios Uvmune 400 Fluid FPS50+ 50ml</c:v>
                </c:pt>
                <c:pt idx="25">
                  <c:v>Banana Boat Dry Balance Sport Spray FPS50 17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Banana Boat Kids Sport Spray FPS50+ 24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Dry Balance Sport Lotion FPS50+ 180ml</c:v>
                </c:pt>
                <c:pt idx="54">
                  <c:v>Banana Boat Aqua Protect Sport Spray FPS50+ 170g</c:v>
                </c:pt>
                <c:pt idx="55">
                  <c:v>Nuvel Suncare Kids Protection FPS50 120ml</c:v>
                </c:pt>
                <c:pt idx="56">
                  <c:v>Isdin Fotoprotector Face and Body Gel-Cream FPS50+ 250ml</c:v>
                </c:pt>
                <c:pt idx="57">
                  <c:v>Caribbean Beach Vitamin E Face Cream FPS50+ 85ml</c:v>
                </c:pt>
                <c:pt idx="58">
                  <c:v>Nuvel Suncare 2 in 1 FPS50 120ml</c:v>
                </c:pt>
                <c:pt idx="59">
                  <c:v>Banana Boat Kids Sport Spray FPS50 170g</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eautycare Antioxidant Face Lotion FPS50+ 50ml</c:v>
                </c:pt>
                <c:pt idx="72">
                  <c:v>Banana Boat Advanced Protection Sport Roll-on FPS50+ 75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279745748951913E-2</c:v>
                </c:pt>
                <c:pt idx="1">
                  <c:v>5.7330186046269632E-2</c:v>
                </c:pt>
                <c:pt idx="2">
                  <c:v>5.0906822369047866E-2</c:v>
                </c:pt>
                <c:pt idx="3">
                  <c:v>4.5215098983439617E-2</c:v>
                </c:pt>
                <c:pt idx="4">
                  <c:v>4.3320292450544647E-2</c:v>
                </c:pt>
                <c:pt idx="5">
                  <c:v>4.3299940262499281E-2</c:v>
                </c:pt>
                <c:pt idx="6">
                  <c:v>3.5445420119642246E-2</c:v>
                </c:pt>
                <c:pt idx="7">
                  <c:v>3.0788154377908127E-2</c:v>
                </c:pt>
                <c:pt idx="8">
                  <c:v>2.7837592247600716E-2</c:v>
                </c:pt>
                <c:pt idx="9">
                  <c:v>2.7038394116647643E-2</c:v>
                </c:pt>
                <c:pt idx="10">
                  <c:v>2.2604359134739418E-2</c:v>
                </c:pt>
                <c:pt idx="11">
                  <c:v>2.2502086870494972E-2</c:v>
                </c:pt>
                <c:pt idx="12">
                  <c:v>2.0249018203589892E-2</c:v>
                </c:pt>
                <c:pt idx="13">
                  <c:v>1.9244945763502174E-2</c:v>
                </c:pt>
                <c:pt idx="14">
                  <c:v>1.7245093285664304E-2</c:v>
                </c:pt>
                <c:pt idx="15">
                  <c:v>1.720739446513277E-2</c:v>
                </c:pt>
                <c:pt idx="16">
                  <c:v>1.7073598876736491E-2</c:v>
                </c:pt>
                <c:pt idx="17">
                  <c:v>1.5275553594789644E-2</c:v>
                </c:pt>
                <c:pt idx="18">
                  <c:v>1.4740981171594385E-2</c:v>
                </c:pt>
                <c:pt idx="19">
                  <c:v>1.4624040545895518E-2</c:v>
                </c:pt>
                <c:pt idx="20">
                  <c:v>1.4021768440744884E-2</c:v>
                </c:pt>
                <c:pt idx="21">
                  <c:v>1.3440277690623356E-2</c:v>
                </c:pt>
                <c:pt idx="22">
                  <c:v>1.2420658702863531E-2</c:v>
                </c:pt>
                <c:pt idx="23">
                  <c:v>1.1985505050102763E-2</c:v>
                </c:pt>
                <c:pt idx="24">
                  <c:v>1.1934742573578169E-2</c:v>
                </c:pt>
                <c:pt idx="25">
                  <c:v>1.1859054772739561E-2</c:v>
                </c:pt>
                <c:pt idx="26">
                  <c:v>1.1751697181935953E-2</c:v>
                </c:pt>
                <c:pt idx="27">
                  <c:v>1.0830418230169872E-2</c:v>
                </c:pt>
                <c:pt idx="28">
                  <c:v>1.0527232760568373E-2</c:v>
                </c:pt>
                <c:pt idx="29">
                  <c:v>1.0330638677453645E-2</c:v>
                </c:pt>
                <c:pt idx="30">
                  <c:v>9.8701037817581355E-3</c:v>
                </c:pt>
                <c:pt idx="31">
                  <c:v>9.8502427788242936E-3</c:v>
                </c:pt>
                <c:pt idx="32">
                  <c:v>9.7116144622161945E-3</c:v>
                </c:pt>
                <c:pt idx="33">
                  <c:v>9.5845056662039463E-3</c:v>
                </c:pt>
                <c:pt idx="34">
                  <c:v>9.2740183437715895E-3</c:v>
                </c:pt>
                <c:pt idx="35">
                  <c:v>9.2426625879453751E-3</c:v>
                </c:pt>
                <c:pt idx="36">
                  <c:v>9.2252254936215257E-3</c:v>
                </c:pt>
                <c:pt idx="37">
                  <c:v>9.2107685644553464E-3</c:v>
                </c:pt>
                <c:pt idx="38">
                  <c:v>7.5354718150281615E-3</c:v>
                </c:pt>
                <c:pt idx="39">
                  <c:v>7.2190138070775253E-3</c:v>
                </c:pt>
                <c:pt idx="40">
                  <c:v>7.0078156779096335E-3</c:v>
                </c:pt>
                <c:pt idx="41">
                  <c:v>6.9388286615621013E-3</c:v>
                </c:pt>
                <c:pt idx="42">
                  <c:v>6.8145368965287934E-3</c:v>
                </c:pt>
                <c:pt idx="43">
                  <c:v>6.635381666727589E-3</c:v>
                </c:pt>
                <c:pt idx="44">
                  <c:v>6.6323164170590792E-3</c:v>
                </c:pt>
                <c:pt idx="45">
                  <c:v>6.5505596589092779E-3</c:v>
                </c:pt>
                <c:pt idx="46">
                  <c:v>6.4104650578671388E-3</c:v>
                </c:pt>
                <c:pt idx="47">
                  <c:v>6.0602388075183264E-3</c:v>
                </c:pt>
                <c:pt idx="48">
                  <c:v>6.0446643171101983E-3</c:v>
                </c:pt>
                <c:pt idx="49">
                  <c:v>5.540567097499987E-3</c:v>
                </c:pt>
                <c:pt idx="50">
                  <c:v>5.2478670617161364E-3</c:v>
                </c:pt>
                <c:pt idx="51">
                  <c:v>5.1722228293137381E-3</c:v>
                </c:pt>
                <c:pt idx="52">
                  <c:v>4.9986771867869435E-3</c:v>
                </c:pt>
                <c:pt idx="53">
                  <c:v>4.7524848430044939E-3</c:v>
                </c:pt>
                <c:pt idx="54">
                  <c:v>4.7188895512816492E-3</c:v>
                </c:pt>
                <c:pt idx="55">
                  <c:v>4.705122814526559E-3</c:v>
                </c:pt>
                <c:pt idx="56">
                  <c:v>4.5782146955696389E-3</c:v>
                </c:pt>
                <c:pt idx="57">
                  <c:v>4.5353591652840105E-3</c:v>
                </c:pt>
                <c:pt idx="58">
                  <c:v>4.0974150769131773E-3</c:v>
                </c:pt>
                <c:pt idx="59">
                  <c:v>4.0785913555673433E-3</c:v>
                </c:pt>
                <c:pt idx="60">
                  <c:v>3.9463340624189963E-3</c:v>
                </c:pt>
                <c:pt idx="61">
                  <c:v>3.7754865213418596E-3</c:v>
                </c:pt>
                <c:pt idx="62">
                  <c:v>3.6288706681206844E-3</c:v>
                </c:pt>
                <c:pt idx="63">
                  <c:v>3.4300473691577871E-3</c:v>
                </c:pt>
                <c:pt idx="64">
                  <c:v>3.0561008277862956E-3</c:v>
                </c:pt>
                <c:pt idx="65">
                  <c:v>3.0011961146522224E-3</c:v>
                </c:pt>
                <c:pt idx="66">
                  <c:v>2.7686820754162299E-3</c:v>
                </c:pt>
                <c:pt idx="67">
                  <c:v>2.67984917803678E-3</c:v>
                </c:pt>
                <c:pt idx="68">
                  <c:v>1.8576646074715904E-3</c:v>
                </c:pt>
                <c:pt idx="69">
                  <c:v>1.6475155711525755E-3</c:v>
                </c:pt>
                <c:pt idx="70">
                  <c:v>1.6134367926380812E-3</c:v>
                </c:pt>
                <c:pt idx="71">
                  <c:v>1.4815968775138565E-3</c:v>
                </c:pt>
                <c:pt idx="72">
                  <c:v>1.4765463999821431E-3</c:v>
                </c:pt>
                <c:pt idx="73">
                  <c:v>1.2825265251187516E-3</c:v>
                </c:pt>
                <c:pt idx="74">
                  <c:v>1.2242089283641315E-3</c:v>
                </c:pt>
                <c:pt idx="75">
                  <c:v>1.1451106870791381E-3</c:v>
                </c:pt>
                <c:pt idx="76">
                  <c:v>1.1125017629471565E-3</c:v>
                </c:pt>
                <c:pt idx="77">
                  <c:v>1.0789578770601588E-3</c:v>
                </c:pt>
                <c:pt idx="78">
                  <c:v>8.9715100626142812E-4</c:v>
                </c:pt>
                <c:pt idx="79">
                  <c:v>7.1337245027158422E-4</c:v>
                </c:pt>
                <c:pt idx="80">
                  <c:v>6.0828484217909865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B$2:$B$2</c:f>
              <c:numCache>
                <c:formatCode>General</c:formatCode>
                <c:ptCount val="1"/>
                <c:pt idx="0">
                  <c:v>102.37624972433015</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C$2:$C$2</c:f>
              <c:numCache>
                <c:formatCode>General</c:formatCode>
                <c:ptCount val="1"/>
                <c:pt idx="0">
                  <c:v>102.77399610138671</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D$2:$D$2</c:f>
              <c:numCache>
                <c:formatCode>General</c:formatCode>
                <c:ptCount val="1"/>
                <c:pt idx="0">
                  <c:v>102.8395130812921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Kids Sport Spray FPS50+ 2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Banana Boat Aqua Protect Sport Lotion FPS50+ 236ml</c:v>
                </c:pt>
                <c:pt idx="2">
                  <c:v>Banana Boat Dry Balance Sport Spray FPS50 170ml</c:v>
                </c:pt>
                <c:pt idx="3">
                  <c:v>Nivea Sun Protection &amp; Hydration Cream FPS50+ 200ml</c:v>
                </c:pt>
                <c:pt idx="4">
                  <c:v>Hawaiian Tropic Ozono Lotion FPS50+ 240ml</c:v>
                </c:pt>
                <c:pt idx="5">
                  <c:v>Hawaiian Tropic Sheer Touch Lotion FPS50+ 240ml</c:v>
                </c:pt>
                <c:pt idx="6">
                  <c:v>Hawaiian Tropic Island Sport Lotion FPS50 240ml</c:v>
                </c:pt>
                <c:pt idx="7">
                  <c:v>Banana Boat Aqua Protect Cream FPS50+ 236ml</c:v>
                </c:pt>
                <c:pt idx="8">
                  <c:v>Banana Boat Aqua Protect Kids Cream FPS50+ 236ml</c:v>
                </c:pt>
                <c:pt idx="9">
                  <c:v>Nivea Sun Protection Sensitive Skin Gel FPS50+ 200ml</c:v>
                </c:pt>
                <c:pt idx="10">
                  <c:v>Nivea Sun Protect &amp; Refresh Sport Spray FPS50 200ml</c:v>
                </c:pt>
              </c:strCache>
            </c:strRef>
          </c:cat>
          <c:val>
            <c:numRef>
              <c:f>Sheet1!$B$2:$B$12</c:f>
              <c:numCache>
                <c:formatCode>General</c:formatCode>
                <c:ptCount val="11"/>
                <c:pt idx="0">
                  <c:v>7.2441495258908986E-2</c:v>
                </c:pt>
                <c:pt idx="1">
                  <c:v>6.2789287520173723E-2</c:v>
                </c:pt>
                <c:pt idx="2">
                  <c:v>5.6643807880514249E-2</c:v>
                </c:pt>
                <c:pt idx="3">
                  <c:v>5.3927246749139041E-2</c:v>
                </c:pt>
                <c:pt idx="4">
                  <c:v>4.338257247325799E-2</c:v>
                </c:pt>
                <c:pt idx="5">
                  <c:v>3.7605827154158583E-2</c:v>
                </c:pt>
                <c:pt idx="6">
                  <c:v>3.2605532137742262E-2</c:v>
                </c:pt>
                <c:pt idx="7">
                  <c:v>3.0284138650425129E-2</c:v>
                </c:pt>
                <c:pt idx="8">
                  <c:v>3.0051898510502634E-2</c:v>
                </c:pt>
                <c:pt idx="9">
                  <c:v>2.8070805129154282E-2</c:v>
                </c:pt>
                <c:pt idx="10">
                  <c:v>2.684733868513340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Lotion FPS50+ 3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006C6D"/>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7ECAC4"/>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7ECAC4"/>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7ECAC4"/>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7ECAC4"/>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r>
                      <a:rPr lang="en-US" sz="500">
                        <a:solidFill>
                          <a:srgbClr val="006C6D"/>
                        </a:solidFill>
                      </a:rPr>
                      <a:t>Hawaiian Tropic Ozono Lotion FPS50+ 3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Equate Ultra Spray FPS50 156g</c:v>
                </c:pt>
                <c:pt idx="15">
                  <c:v>Hawaiian Tropic Sheer Touch Lotion FPS30 240ml</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Hawaiian Tropic Ozono Lotion FPS50+ 300ml</c:v>
                </c:pt>
                <c:pt idx="29">
                  <c:v>Neutrogena Sun Fresh Cream FPS50 120ml</c:v>
                </c:pt>
                <c:pt idx="30">
                  <c:v>Caribbean Beach Advanced Protection Cream FPS50+ 150g</c:v>
                </c:pt>
                <c:pt idx="31">
                  <c:v>Nivea Sun Face Stain Control FPS50+ 40ml</c:v>
                </c:pt>
                <c:pt idx="32">
                  <c:v>Nivea Sun Kids Protect &amp; Sensitive Spray FPS50+ 200ml</c:v>
                </c:pt>
                <c:pt idx="33">
                  <c:v>Caribbean Beach Sport Cream FPS50+ 150g</c:v>
                </c:pt>
                <c:pt idx="34">
                  <c:v>Hawaiian Tropic Silk Hydration Lotion FPS50 180ml</c:v>
                </c:pt>
                <c:pt idx="35">
                  <c:v>Garnier Super UV Serum FPS50+ 40ml</c:v>
                </c:pt>
                <c:pt idx="36">
                  <c:v>L'Oréal Paris UV DEFENDER Colored Fluid FPS50+ 40g</c:v>
                </c:pt>
                <c:pt idx="37">
                  <c:v>Caribbean Beach Kids Cream FPS50+ 250g</c:v>
                </c:pt>
                <c:pt idx="38">
                  <c:v>Hawaiian Tropic Ozono Lotion FPS50+ 120ml</c:v>
                </c:pt>
                <c:pt idx="39">
                  <c:v>Isdin Fotoprotector Fusion Water FPS50+ 50ml</c:v>
                </c:pt>
                <c:pt idx="40">
                  <c:v>Garnier Super UV Cream FPS50+ 40g</c:v>
                </c:pt>
                <c:pt idx="41">
                  <c:v>Nivea Sun Face Fluid Invisible FPS50+ 40ml</c:v>
                </c:pt>
                <c:pt idx="42">
                  <c:v>Nuvel Suncare Mineral FPS50 120ml</c:v>
                </c:pt>
                <c:pt idx="43">
                  <c:v>Nuvel Suncare Ultra Protection FPS50 120ml</c:v>
                </c:pt>
                <c:pt idx="44">
                  <c:v>La Roche Posay Anthelios XL Gel-Cream FPS50+ 5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Banana Boat Dry Balance Sport Lotion FPS50+ 180ml</c:v>
                </c:pt>
                <c:pt idx="55">
                  <c:v>Nuvel Suncare Kids Protection FPS50 120ml</c:v>
                </c:pt>
                <c:pt idx="56">
                  <c:v>Isdin Fotoprotector Face and Body Gel-Cream FPS50+ 250ml</c:v>
                </c:pt>
                <c:pt idx="57">
                  <c:v>Caribbean Beach Vitamin E Face Cream FPS50+ 85ml</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3843362357862337E-2</c:v>
                </c:pt>
                <c:pt idx="1">
                  <c:v>5.7307294250152976E-2</c:v>
                </c:pt>
                <c:pt idx="2">
                  <c:v>5.0566428764383352E-2</c:v>
                </c:pt>
                <c:pt idx="3">
                  <c:v>4.5081866746129504E-2</c:v>
                </c:pt>
                <c:pt idx="4">
                  <c:v>4.272067179358166E-2</c:v>
                </c:pt>
                <c:pt idx="5">
                  <c:v>4.2605313468364055E-2</c:v>
                </c:pt>
                <c:pt idx="6">
                  <c:v>3.4832927857257986E-2</c:v>
                </c:pt>
                <c:pt idx="7">
                  <c:v>3.0939215037911343E-2</c:v>
                </c:pt>
                <c:pt idx="8">
                  <c:v>2.7632510860933886E-2</c:v>
                </c:pt>
                <c:pt idx="9">
                  <c:v>2.6910445565475328E-2</c:v>
                </c:pt>
                <c:pt idx="10">
                  <c:v>2.2499534785646192E-2</c:v>
                </c:pt>
                <c:pt idx="11">
                  <c:v>2.2459224984974425E-2</c:v>
                </c:pt>
                <c:pt idx="12">
                  <c:v>2.0200444346063214E-2</c:v>
                </c:pt>
                <c:pt idx="13">
                  <c:v>1.9297113833026427E-2</c:v>
                </c:pt>
                <c:pt idx="14">
                  <c:v>1.7239426522223242E-2</c:v>
                </c:pt>
                <c:pt idx="15">
                  <c:v>1.7052940516735025E-2</c:v>
                </c:pt>
                <c:pt idx="16">
                  <c:v>1.6999474085822943E-2</c:v>
                </c:pt>
                <c:pt idx="17">
                  <c:v>1.5199921496095821E-2</c:v>
                </c:pt>
                <c:pt idx="18">
                  <c:v>1.4725115685420715E-2</c:v>
                </c:pt>
                <c:pt idx="19">
                  <c:v>1.4468774511018676E-2</c:v>
                </c:pt>
                <c:pt idx="20">
                  <c:v>1.3899020672260107E-2</c:v>
                </c:pt>
                <c:pt idx="21">
                  <c:v>1.3417527523480478E-2</c:v>
                </c:pt>
                <c:pt idx="22">
                  <c:v>1.2377115939788319E-2</c:v>
                </c:pt>
                <c:pt idx="23">
                  <c:v>1.2129982791799589E-2</c:v>
                </c:pt>
                <c:pt idx="24">
                  <c:v>1.1963631765519584E-2</c:v>
                </c:pt>
                <c:pt idx="25">
                  <c:v>1.1932812569894166E-2</c:v>
                </c:pt>
                <c:pt idx="26">
                  <c:v>1.1711869575189998E-2</c:v>
                </c:pt>
                <c:pt idx="27">
                  <c:v>1.0801167833586318E-2</c:v>
                </c:pt>
                <c:pt idx="28">
                  <c:v>1.0740100112679583E-2</c:v>
                </c:pt>
                <c:pt idx="29">
                  <c:v>1.047888600105833E-2</c:v>
                </c:pt>
                <c:pt idx="30">
                  <c:v>1.0347080984241509E-2</c:v>
                </c:pt>
                <c:pt idx="31">
                  <c:v>9.8515082873021804E-3</c:v>
                </c:pt>
                <c:pt idx="32">
                  <c:v>9.8075488828958841E-3</c:v>
                </c:pt>
                <c:pt idx="33">
                  <c:v>9.6730778232380771E-3</c:v>
                </c:pt>
                <c:pt idx="34">
                  <c:v>9.4105545396553809E-3</c:v>
                </c:pt>
                <c:pt idx="35">
                  <c:v>9.2458918077018004E-3</c:v>
                </c:pt>
                <c:pt idx="36">
                  <c:v>9.1991131658186003E-3</c:v>
                </c:pt>
                <c:pt idx="37">
                  <c:v>9.1920574137083714E-3</c:v>
                </c:pt>
                <c:pt idx="38">
                  <c:v>9.1708562385104837E-3</c:v>
                </c:pt>
                <c:pt idx="39">
                  <c:v>7.4953833199175755E-3</c:v>
                </c:pt>
                <c:pt idx="40">
                  <c:v>7.1873404875603432E-3</c:v>
                </c:pt>
                <c:pt idx="41">
                  <c:v>6.9903925517730116E-3</c:v>
                </c:pt>
                <c:pt idx="42">
                  <c:v>6.9345869235413323E-3</c:v>
                </c:pt>
                <c:pt idx="43">
                  <c:v>6.8323113344280857E-3</c:v>
                </c:pt>
                <c:pt idx="44">
                  <c:v>6.5962338213213225E-3</c:v>
                </c:pt>
                <c:pt idx="45">
                  <c:v>6.547422965411602E-3</c:v>
                </c:pt>
                <c:pt idx="46">
                  <c:v>6.4728089358549032E-3</c:v>
                </c:pt>
                <c:pt idx="47">
                  <c:v>6.0848639301297157E-3</c:v>
                </c:pt>
                <c:pt idx="48">
                  <c:v>6.0012737285524542E-3</c:v>
                </c:pt>
                <c:pt idx="49">
                  <c:v>5.5364197291669325E-3</c:v>
                </c:pt>
                <c:pt idx="50">
                  <c:v>5.1945753000673788E-3</c:v>
                </c:pt>
                <c:pt idx="51">
                  <c:v>5.1758767102001958E-3</c:v>
                </c:pt>
                <c:pt idx="52">
                  <c:v>4.9811858353435851E-3</c:v>
                </c:pt>
                <c:pt idx="53">
                  <c:v>4.8034672405054078E-3</c:v>
                </c:pt>
                <c:pt idx="54">
                  <c:v>4.7575483082759919E-3</c:v>
                </c:pt>
                <c:pt idx="55">
                  <c:v>4.6937978552513276E-3</c:v>
                </c:pt>
                <c:pt idx="56">
                  <c:v>4.5524995162523558E-3</c:v>
                </c:pt>
                <c:pt idx="57">
                  <c:v>4.5222927380685236E-3</c:v>
                </c:pt>
                <c:pt idx="58">
                  <c:v>4.1358457422071082E-3</c:v>
                </c:pt>
                <c:pt idx="59">
                  <c:v>4.0986003444839882E-3</c:v>
                </c:pt>
                <c:pt idx="60">
                  <c:v>3.9278246038185879E-3</c:v>
                </c:pt>
                <c:pt idx="61">
                  <c:v>3.7785224662344606E-3</c:v>
                </c:pt>
                <c:pt idx="62">
                  <c:v>3.6053221282611072E-3</c:v>
                </c:pt>
                <c:pt idx="63">
                  <c:v>3.4051733918308968E-3</c:v>
                </c:pt>
                <c:pt idx="64">
                  <c:v>3.056531774871312E-3</c:v>
                </c:pt>
                <c:pt idx="65">
                  <c:v>3.0395295321188325E-3</c:v>
                </c:pt>
                <c:pt idx="66">
                  <c:v>2.7782853787234802E-3</c:v>
                </c:pt>
                <c:pt idx="67">
                  <c:v>2.6720954093859273E-3</c:v>
                </c:pt>
                <c:pt idx="68">
                  <c:v>1.8576364459236641E-3</c:v>
                </c:pt>
                <c:pt idx="69">
                  <c:v>1.6413406480363731E-3</c:v>
                </c:pt>
                <c:pt idx="70">
                  <c:v>1.6267127470977727E-3</c:v>
                </c:pt>
                <c:pt idx="71">
                  <c:v>1.5024396103144892E-3</c:v>
                </c:pt>
                <c:pt idx="72">
                  <c:v>1.4817168164110938E-3</c:v>
                </c:pt>
                <c:pt idx="73">
                  <c:v>1.2849405335046246E-3</c:v>
                </c:pt>
                <c:pt idx="74">
                  <c:v>1.2209153855961112E-3</c:v>
                </c:pt>
                <c:pt idx="75">
                  <c:v>1.1477085936680116E-3</c:v>
                </c:pt>
                <c:pt idx="76">
                  <c:v>1.1204213871146961E-3</c:v>
                </c:pt>
                <c:pt idx="77">
                  <c:v>1.0828018068242489E-3</c:v>
                </c:pt>
                <c:pt idx="78">
                  <c:v>9.1589938676547801E-4</c:v>
                </c:pt>
                <c:pt idx="79">
                  <c:v>7.1371243384243141E-4</c:v>
                </c:pt>
                <c:pt idx="80">
                  <c:v>6.1393080393551749E-4</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B$2:$B$2</c:f>
              <c:numCache>
                <c:formatCode>General</c:formatCode>
                <c:ptCount val="1"/>
                <c:pt idx="0">
                  <c:v>106.28585268246304</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C$2:$C$2</c:f>
              <c:numCache>
                <c:formatCode>General</c:formatCode>
                <c:ptCount val="1"/>
                <c:pt idx="0">
                  <c:v>107.161311512736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D$2:$D$2</c:f>
              <c:numCache>
                <c:formatCode>General</c:formatCode>
                <c:ptCount val="1"/>
                <c:pt idx="0">
                  <c:v>105.9039401787603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Stick FPS50+ 42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006C6D"/>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7"/>
              <c:tx>
                <c:rich>
                  <a:bodyPr/>
                  <a:lstStyle/>
                  <a:p>
                    <a:r>
                      <a:rPr lang="en-US" sz="500">
                        <a:solidFill>
                          <a:srgbClr val="006C6D"/>
                        </a:solidFill>
                      </a:rPr>
                      <a:t>Hawaiian Tropic Ozono Stick FPS50+ 42g</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Sheer Touch Lotion FPS50+ 240ml</c:v>
                </c:pt>
                <c:pt idx="5">
                  <c:v>Hawaiian Tropic Ozono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Hawaiian Tropic Ozono Stick FPS50+ 42g</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35743112547474E-2</c:v>
                </c:pt>
                <c:pt idx="1">
                  <c:v>5.7663753971391347E-2</c:v>
                </c:pt>
                <c:pt idx="2">
                  <c:v>5.0987262491549806E-2</c:v>
                </c:pt>
                <c:pt idx="3">
                  <c:v>4.5232569089806822E-2</c:v>
                </c:pt>
                <c:pt idx="4">
                  <c:v>4.3400275030610141E-2</c:v>
                </c:pt>
                <c:pt idx="5">
                  <c:v>4.3355623076096861E-2</c:v>
                </c:pt>
                <c:pt idx="6">
                  <c:v>3.553730530134732E-2</c:v>
                </c:pt>
                <c:pt idx="7">
                  <c:v>3.1132829702145898E-2</c:v>
                </c:pt>
                <c:pt idx="8">
                  <c:v>2.7921191041084106E-2</c:v>
                </c:pt>
                <c:pt idx="9">
                  <c:v>2.7185967554051359E-2</c:v>
                </c:pt>
                <c:pt idx="10">
                  <c:v>2.2648468318646666E-2</c:v>
                </c:pt>
                <c:pt idx="11">
                  <c:v>2.2599151113001762E-2</c:v>
                </c:pt>
                <c:pt idx="12">
                  <c:v>2.0280584793730037E-2</c:v>
                </c:pt>
                <c:pt idx="13">
                  <c:v>1.9412037877721087E-2</c:v>
                </c:pt>
                <c:pt idx="14">
                  <c:v>1.7262853679924771E-2</c:v>
                </c:pt>
                <c:pt idx="15">
                  <c:v>1.7230354485753795E-2</c:v>
                </c:pt>
                <c:pt idx="16">
                  <c:v>1.7105281610523087E-2</c:v>
                </c:pt>
                <c:pt idx="17">
                  <c:v>1.5240150141600463E-2</c:v>
                </c:pt>
                <c:pt idx="18">
                  <c:v>1.478541551379676E-2</c:v>
                </c:pt>
                <c:pt idx="19">
                  <c:v>1.4549733486302474E-2</c:v>
                </c:pt>
                <c:pt idx="20">
                  <c:v>1.3995550985549526E-2</c:v>
                </c:pt>
                <c:pt idx="21">
                  <c:v>1.3404845070628831E-2</c:v>
                </c:pt>
                <c:pt idx="22">
                  <c:v>1.2422506418097704E-2</c:v>
                </c:pt>
                <c:pt idx="23">
                  <c:v>1.2186594433871101E-2</c:v>
                </c:pt>
                <c:pt idx="24">
                  <c:v>1.1977770113531443E-2</c:v>
                </c:pt>
                <c:pt idx="25">
                  <c:v>1.1971719750642687E-2</c:v>
                </c:pt>
                <c:pt idx="26">
                  <c:v>1.1725089199379641E-2</c:v>
                </c:pt>
                <c:pt idx="27">
                  <c:v>1.0817393018723866E-2</c:v>
                </c:pt>
                <c:pt idx="28">
                  <c:v>1.0510706049858074E-2</c:v>
                </c:pt>
                <c:pt idx="29">
                  <c:v>1.0311817878258649E-2</c:v>
                </c:pt>
                <c:pt idx="30">
                  <c:v>9.8762310760219484E-3</c:v>
                </c:pt>
                <c:pt idx="31">
                  <c:v>9.8389074799268665E-3</c:v>
                </c:pt>
                <c:pt idx="32">
                  <c:v>9.7049549840721484E-3</c:v>
                </c:pt>
                <c:pt idx="33">
                  <c:v>9.5414637164465046E-3</c:v>
                </c:pt>
                <c:pt idx="34">
                  <c:v>9.2470638266190022E-3</c:v>
                </c:pt>
                <c:pt idx="35">
                  <c:v>9.2352163518402645E-3</c:v>
                </c:pt>
                <c:pt idx="36">
                  <c:v>9.2143123917945279E-3</c:v>
                </c:pt>
                <c:pt idx="37">
                  <c:v>9.2052960018120383E-3</c:v>
                </c:pt>
                <c:pt idx="38">
                  <c:v>7.5318348249651971E-3</c:v>
                </c:pt>
                <c:pt idx="39">
                  <c:v>7.1760605289997274E-3</c:v>
                </c:pt>
                <c:pt idx="40">
                  <c:v>6.9874612098451885E-3</c:v>
                </c:pt>
                <c:pt idx="41">
                  <c:v>6.9179062832313652E-3</c:v>
                </c:pt>
                <c:pt idx="42">
                  <c:v>6.8329267282794858E-3</c:v>
                </c:pt>
                <c:pt idx="43">
                  <c:v>6.6379067026250023E-3</c:v>
                </c:pt>
                <c:pt idx="44">
                  <c:v>6.5542690541285425E-3</c:v>
                </c:pt>
                <c:pt idx="45">
                  <c:v>6.4918684242862576E-3</c:v>
                </c:pt>
                <c:pt idx="46">
                  <c:v>6.1267331086280446E-3</c:v>
                </c:pt>
                <c:pt idx="47">
                  <c:v>6.0262997806833311E-3</c:v>
                </c:pt>
                <c:pt idx="48">
                  <c:v>5.5461321334206214E-3</c:v>
                </c:pt>
                <c:pt idx="49">
                  <c:v>5.2424885194694206E-3</c:v>
                </c:pt>
                <c:pt idx="50">
                  <c:v>5.183289949334818E-3</c:v>
                </c:pt>
                <c:pt idx="51">
                  <c:v>5.0052889666752781E-3</c:v>
                </c:pt>
                <c:pt idx="52">
                  <c:v>4.8299027992064142E-3</c:v>
                </c:pt>
                <c:pt idx="53">
                  <c:v>4.8067653803049431E-3</c:v>
                </c:pt>
                <c:pt idx="54">
                  <c:v>4.7052055291209802E-3</c:v>
                </c:pt>
                <c:pt idx="55">
                  <c:v>4.5675942333723938E-3</c:v>
                </c:pt>
                <c:pt idx="56">
                  <c:v>4.5159947695069076E-3</c:v>
                </c:pt>
                <c:pt idx="57">
                  <c:v>4.3398961905934961E-3</c:v>
                </c:pt>
                <c:pt idx="58">
                  <c:v>4.1606781959740062E-3</c:v>
                </c:pt>
                <c:pt idx="59">
                  <c:v>4.0955205255886404E-3</c:v>
                </c:pt>
                <c:pt idx="60">
                  <c:v>3.920806218134819E-3</c:v>
                </c:pt>
                <c:pt idx="61">
                  <c:v>3.7818132577061409E-3</c:v>
                </c:pt>
                <c:pt idx="62">
                  <c:v>3.636234332173049E-3</c:v>
                </c:pt>
                <c:pt idx="63">
                  <c:v>3.4398712011144881E-3</c:v>
                </c:pt>
                <c:pt idx="64">
                  <c:v>3.0842826155816935E-3</c:v>
                </c:pt>
                <c:pt idx="65">
                  <c:v>3.0491692851203904E-3</c:v>
                </c:pt>
                <c:pt idx="66">
                  <c:v>2.7837930597970793E-3</c:v>
                </c:pt>
                <c:pt idx="67">
                  <c:v>2.6794675656485892E-3</c:v>
                </c:pt>
                <c:pt idx="68">
                  <c:v>1.8520646271086251E-3</c:v>
                </c:pt>
                <c:pt idx="69">
                  <c:v>1.6383628252864184E-3</c:v>
                </c:pt>
                <c:pt idx="70">
                  <c:v>1.6259220398413634E-3</c:v>
                </c:pt>
                <c:pt idx="71">
                  <c:v>1.5066873702193186E-3</c:v>
                </c:pt>
                <c:pt idx="72">
                  <c:v>1.4681261039431904E-3</c:v>
                </c:pt>
                <c:pt idx="73">
                  <c:v>1.2869872078651973E-3</c:v>
                </c:pt>
                <c:pt idx="74">
                  <c:v>1.2260120052348241E-3</c:v>
                </c:pt>
                <c:pt idx="75">
                  <c:v>1.1514009118963604E-3</c:v>
                </c:pt>
                <c:pt idx="76">
                  <c:v>1.1140231231571316E-3</c:v>
                </c:pt>
                <c:pt idx="77">
                  <c:v>1.0756007187657946E-3</c:v>
                </c:pt>
                <c:pt idx="78">
                  <c:v>9.1576196584167028E-4</c:v>
                </c:pt>
                <c:pt idx="79">
                  <c:v>7.0900105048485426E-4</c:v>
                </c:pt>
                <c:pt idx="80">
                  <c:v>6.185985381323033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Ultra-Light FPS50+ 14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006C6D"/>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7ECAC4"/>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7ECAC4"/>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r>
                      <a:rPr lang="en-US" sz="500">
                        <a:solidFill>
                          <a:srgbClr val="006C6D"/>
                        </a:solidFill>
                      </a:rPr>
                      <a:t>Hawaiian Tropic Ozono Ultra-Light FPS50+ 1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Equate Ultra Spray FPS50 156g</c:v>
                </c:pt>
                <c:pt idx="15">
                  <c:v>Hawaiian Tropic Sheer Touch Lotion FPS30 240ml</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L'Oréal Paris UV DEFENDER Colored Fluid FPS50+ 40g</c:v>
                </c:pt>
                <c:pt idx="36">
                  <c:v>Hawaiian Tropic Ozono Lotion FPS50+ 120ml</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Hawaiian Tropic Ozono Ultra-Light FPS50+ 14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392900485689213E-2</c:v>
                </c:pt>
                <c:pt idx="1">
                  <c:v>5.7616920101070619E-2</c:v>
                </c:pt>
                <c:pt idx="2">
                  <c:v>5.0961128952451716E-2</c:v>
                </c:pt>
                <c:pt idx="3">
                  <c:v>4.522127364913902E-2</c:v>
                </c:pt>
                <c:pt idx="4">
                  <c:v>4.344415398237237E-2</c:v>
                </c:pt>
                <c:pt idx="5">
                  <c:v>4.3392305604178893E-2</c:v>
                </c:pt>
                <c:pt idx="6">
                  <c:v>3.5542108115270428E-2</c:v>
                </c:pt>
                <c:pt idx="7">
                  <c:v>3.1122660837529615E-2</c:v>
                </c:pt>
                <c:pt idx="8">
                  <c:v>2.7896302649413982E-2</c:v>
                </c:pt>
                <c:pt idx="9">
                  <c:v>2.7169479716236993E-2</c:v>
                </c:pt>
                <c:pt idx="10">
                  <c:v>2.2650377942970364E-2</c:v>
                </c:pt>
                <c:pt idx="11">
                  <c:v>2.2618232308510226E-2</c:v>
                </c:pt>
                <c:pt idx="12">
                  <c:v>2.0311764122192124E-2</c:v>
                </c:pt>
                <c:pt idx="13">
                  <c:v>1.9398932153394065E-2</c:v>
                </c:pt>
                <c:pt idx="14">
                  <c:v>1.7261432627402488E-2</c:v>
                </c:pt>
                <c:pt idx="15">
                  <c:v>1.7255236330729975E-2</c:v>
                </c:pt>
                <c:pt idx="16">
                  <c:v>1.7107694952352502E-2</c:v>
                </c:pt>
                <c:pt idx="17">
                  <c:v>1.5281227985969065E-2</c:v>
                </c:pt>
                <c:pt idx="18">
                  <c:v>1.480370457474907E-2</c:v>
                </c:pt>
                <c:pt idx="19">
                  <c:v>1.4632286045608322E-2</c:v>
                </c:pt>
                <c:pt idx="20">
                  <c:v>1.4025201767479465E-2</c:v>
                </c:pt>
                <c:pt idx="21">
                  <c:v>1.3484517921454813E-2</c:v>
                </c:pt>
                <c:pt idx="22">
                  <c:v>1.2448410697697743E-2</c:v>
                </c:pt>
                <c:pt idx="23">
                  <c:v>1.2196664236544511E-2</c:v>
                </c:pt>
                <c:pt idx="24">
                  <c:v>1.1995982613347972E-2</c:v>
                </c:pt>
                <c:pt idx="25">
                  <c:v>1.1985399685788154E-2</c:v>
                </c:pt>
                <c:pt idx="26">
                  <c:v>1.1760743753662619E-2</c:v>
                </c:pt>
                <c:pt idx="27">
                  <c:v>1.084411911460108E-2</c:v>
                </c:pt>
                <c:pt idx="28">
                  <c:v>1.0542515041620504E-2</c:v>
                </c:pt>
                <c:pt idx="29">
                  <c:v>1.0343599165796875E-2</c:v>
                </c:pt>
                <c:pt idx="30">
                  <c:v>9.8805935974987501E-3</c:v>
                </c:pt>
                <c:pt idx="31">
                  <c:v>9.8787205689493604E-3</c:v>
                </c:pt>
                <c:pt idx="32">
                  <c:v>9.7081264376591703E-3</c:v>
                </c:pt>
                <c:pt idx="33">
                  <c:v>9.584516257187042E-3</c:v>
                </c:pt>
                <c:pt idx="34">
                  <c:v>9.2735903723986761E-3</c:v>
                </c:pt>
                <c:pt idx="35">
                  <c:v>9.2469499763924365E-3</c:v>
                </c:pt>
                <c:pt idx="36">
                  <c:v>9.2371190583632242E-3</c:v>
                </c:pt>
                <c:pt idx="37">
                  <c:v>9.2333073831181653E-3</c:v>
                </c:pt>
                <c:pt idx="38">
                  <c:v>7.5604351286438654E-3</c:v>
                </c:pt>
                <c:pt idx="39">
                  <c:v>7.2245433953886905E-3</c:v>
                </c:pt>
                <c:pt idx="40">
                  <c:v>7.0190898679587388E-3</c:v>
                </c:pt>
                <c:pt idx="41">
                  <c:v>6.9452187626839112E-3</c:v>
                </c:pt>
                <c:pt idx="42">
                  <c:v>6.8301319443405143E-3</c:v>
                </c:pt>
                <c:pt idx="43">
                  <c:v>6.6484225957370042E-3</c:v>
                </c:pt>
                <c:pt idx="44">
                  <c:v>6.5687434049204107E-3</c:v>
                </c:pt>
                <c:pt idx="45">
                  <c:v>6.5026655759460386E-3</c:v>
                </c:pt>
                <c:pt idx="46">
                  <c:v>6.1312496039164915E-3</c:v>
                </c:pt>
                <c:pt idx="47">
                  <c:v>6.05756865715698E-3</c:v>
                </c:pt>
                <c:pt idx="48">
                  <c:v>5.5601484095296689E-3</c:v>
                </c:pt>
                <c:pt idx="49">
                  <c:v>5.2595572416181072E-3</c:v>
                </c:pt>
                <c:pt idx="50">
                  <c:v>5.2273487567710535E-3</c:v>
                </c:pt>
                <c:pt idx="51">
                  <c:v>5.0258565561736544E-3</c:v>
                </c:pt>
                <c:pt idx="52">
                  <c:v>4.8346356154160578E-3</c:v>
                </c:pt>
                <c:pt idx="53">
                  <c:v>4.8034420266788386E-3</c:v>
                </c:pt>
                <c:pt idx="54">
                  <c:v>4.7135351001117501E-3</c:v>
                </c:pt>
                <c:pt idx="55">
                  <c:v>4.5936325781209004E-3</c:v>
                </c:pt>
                <c:pt idx="56">
                  <c:v>4.5294656831076441E-3</c:v>
                </c:pt>
                <c:pt idx="57">
                  <c:v>4.1623558522291331E-3</c:v>
                </c:pt>
                <c:pt idx="58">
                  <c:v>4.103479157299284E-3</c:v>
                </c:pt>
                <c:pt idx="59">
                  <c:v>3.940009345191924E-3</c:v>
                </c:pt>
                <c:pt idx="60">
                  <c:v>3.7849048020501194E-3</c:v>
                </c:pt>
                <c:pt idx="61">
                  <c:v>3.647545109322455E-3</c:v>
                </c:pt>
                <c:pt idx="62">
                  <c:v>3.4477408681662419E-3</c:v>
                </c:pt>
                <c:pt idx="63">
                  <c:v>3.2089759598830981E-3</c:v>
                </c:pt>
                <c:pt idx="64">
                  <c:v>3.0869939208495699E-3</c:v>
                </c:pt>
                <c:pt idx="65">
                  <c:v>3.0513402580822687E-3</c:v>
                </c:pt>
                <c:pt idx="66">
                  <c:v>2.7918521172350967E-3</c:v>
                </c:pt>
                <c:pt idx="67">
                  <c:v>2.6896373433258226E-3</c:v>
                </c:pt>
                <c:pt idx="68">
                  <c:v>1.8695282519430828E-3</c:v>
                </c:pt>
                <c:pt idx="69">
                  <c:v>1.653256685502161E-3</c:v>
                </c:pt>
                <c:pt idx="70">
                  <c:v>1.6353578624419983E-3</c:v>
                </c:pt>
                <c:pt idx="71">
                  <c:v>1.5052136248903294E-3</c:v>
                </c:pt>
                <c:pt idx="72">
                  <c:v>1.4957537984645517E-3</c:v>
                </c:pt>
                <c:pt idx="73">
                  <c:v>1.293558816581779E-3</c:v>
                </c:pt>
                <c:pt idx="74">
                  <c:v>1.2304374061622096E-3</c:v>
                </c:pt>
                <c:pt idx="75">
                  <c:v>1.1534699914843901E-3</c:v>
                </c:pt>
                <c:pt idx="76">
                  <c:v>1.1230144919486219E-3</c:v>
                </c:pt>
                <c:pt idx="77">
                  <c:v>1.0853285925882259E-3</c:v>
                </c:pt>
                <c:pt idx="78">
                  <c:v>9.1969760169628191E-4</c:v>
                </c:pt>
                <c:pt idx="79">
                  <c:v>7.1602128500950206E-4</c:v>
                </c:pt>
                <c:pt idx="80">
                  <c:v>6.1863516664034278E-4</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awaiian Tropic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42g @240</c:v>
                </c:pt>
                <c:pt idx="2">
                  <c:v>Hawaiian Tropic Ozono Ultra-Light FPS50+ 140ml @275</c:v>
                </c:pt>
              </c:strCache>
            </c:strRef>
          </c:cat>
          <c:val>
            <c:numRef>
              <c:f>Sheet1!$B$2:$B$4</c:f>
              <c:numCache>
                <c:formatCode>General</c:formatCode>
                <c:ptCount val="3"/>
                <c:pt idx="0">
                  <c:v>101.7988704274907</c:v>
                </c:pt>
                <c:pt idx="1">
                  <c:v>119.69604516620163</c:v>
                </c:pt>
                <c:pt idx="2">
                  <c:v>101.50198533893422</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awaiian Tropic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42g @240</c:v>
                </c:pt>
                <c:pt idx="2">
                  <c:v>Hawaiian Tropic Ozono Ultra-Light FPS50+ 140ml @275</c:v>
                </c:pt>
              </c:strCache>
            </c:strRef>
          </c:cat>
          <c:val>
            <c:numRef>
              <c:f>Sheet1!$C$2:$C$4</c:f>
              <c:numCache>
                <c:formatCode>General</c:formatCode>
                <c:ptCount val="3"/>
                <c:pt idx="0">
                  <c:v>101.76423099635099</c:v>
                </c:pt>
                <c:pt idx="1">
                  <c:v>118.14894477417266</c:v>
                </c:pt>
                <c:pt idx="2">
                  <c:v>101.25651893706898</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awaiian Tropic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42g @240</c:v>
                </c:pt>
                <c:pt idx="2">
                  <c:v>Hawaiian Tropic Ozono Ultra-Light FPS50+ 140ml @275</c:v>
                </c:pt>
              </c:strCache>
            </c:strRef>
          </c:cat>
          <c:val>
            <c:numRef>
              <c:f>Sheet1!$D$2:$D$4</c:f>
              <c:numCache>
                <c:formatCode>General</c:formatCode>
                <c:ptCount val="3"/>
                <c:pt idx="0">
                  <c:v>102.02209818573913</c:v>
                </c:pt>
                <c:pt idx="1">
                  <c:v>114.9119920912031</c:v>
                </c:pt>
                <c:pt idx="2">
                  <c:v>100.44903421529111</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Ozono Lotion FPS50+ 3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7.3932826202732435E-2</c:v>
                </c:pt>
                <c:pt idx="1">
                  <c:v>8.2620049653358688E-2</c:v>
                </c:pt>
                <c:pt idx="2">
                  <c:v>8.7898672176465117E-2</c:v>
                </c:pt>
                <c:pt idx="3">
                  <c:v>7.7163383932516164E-2</c:v>
                </c:pt>
                <c:pt idx="4">
                  <c:v>4.6866110103050397E-2</c:v>
                </c:pt>
                <c:pt idx="5">
                  <c:v>4.9028227003304455E-2</c:v>
                </c:pt>
                <c:pt idx="6">
                  <c:v>2.653191749931616E-2</c:v>
                </c:pt>
                <c:pt idx="7">
                  <c:v>3.1796978832539499E-2</c:v>
                </c:pt>
                <c:pt idx="8">
                  <c:v>2.470905854210555E-2</c:v>
                </c:pt>
                <c:pt idx="9">
                  <c:v>2.1537065038704967E-2</c:v>
                </c:pt>
                <c:pt idx="10">
                  <c:v>1.9795204811843454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Ozono Stick FPS50+ 42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4.6467747496506576E-2</c:v>
                </c:pt>
                <c:pt idx="1">
                  <c:v>5.815722565518644E-2</c:v>
                </c:pt>
                <c:pt idx="2">
                  <c:v>3.4350816276175686E-2</c:v>
                </c:pt>
                <c:pt idx="3">
                  <c:v>2.8656221005602802E-2</c:v>
                </c:pt>
                <c:pt idx="4">
                  <c:v>3.3845738863206992E-2</c:v>
                </c:pt>
                <c:pt idx="5">
                  <c:v>2.4363333718762613E-2</c:v>
                </c:pt>
                <c:pt idx="6">
                  <c:v>3.093463542692089E-2</c:v>
                </c:pt>
                <c:pt idx="7">
                  <c:v>1.2171386934668472E-2</c:v>
                </c:pt>
                <c:pt idx="8">
                  <c:v>1.6535671602759219E-2</c:v>
                </c:pt>
                <c:pt idx="9">
                  <c:v>1.8981260848371446E-2</c:v>
                </c:pt>
                <c:pt idx="10">
                  <c:v>3.0333330652407529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awaiian Tropic Ozono Ultra-Light FPS50+ 1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7.6194970065378023E-2</c:v>
                </c:pt>
                <c:pt idx="1">
                  <c:v>5.1064706576016292E-2</c:v>
                </c:pt>
                <c:pt idx="2">
                  <c:v>4.8940348913589594E-2</c:v>
                </c:pt>
                <c:pt idx="3">
                  <c:v>3.7258680635385275E-2</c:v>
                </c:pt>
                <c:pt idx="4">
                  <c:v>6.0368437128472514E-2</c:v>
                </c:pt>
                <c:pt idx="5">
                  <c:v>4.1093445367883043E-2</c:v>
                </c:pt>
                <c:pt idx="6">
                  <c:v>4.5356696009588422E-2</c:v>
                </c:pt>
                <c:pt idx="7">
                  <c:v>2.4216743420216284E-2</c:v>
                </c:pt>
                <c:pt idx="8">
                  <c:v>2.5532121099775162E-2</c:v>
                </c:pt>
                <c:pt idx="9">
                  <c:v>2.5075624850658548E-2</c:v>
                </c:pt>
                <c:pt idx="10">
                  <c:v>1.5298010160953944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Serum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spPr>
              <a:solidFill>
                <a:srgbClr val="7ECAC4"/>
              </a:solidFill>
            </c:spPr>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7ECAC4"/>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7ECAC4"/>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7ECAC4"/>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006C6D"/>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7ECAC4"/>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r>
                      <a:rPr lang="en-US" sz="500">
                        <a:solidFill>
                          <a:srgbClr val="006C6D"/>
                        </a:solidFill>
                      </a:rPr>
                      <a:t>Hawaiian Tropic Silk Hydration Serum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L'Oréal Paris UV DEFENDER Colored Fluid FPS50+ 40g</c:v>
                </c:pt>
                <c:pt idx="36">
                  <c:v>Caribbean Beach Kids Cream FPS50+ 250g</c:v>
                </c:pt>
                <c:pt idx="37">
                  <c:v>Hawaiian Tropic Ozono Lotion FPS50+ 120ml</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Hawaiian Tropic Silk Hydration Serum FPS50 10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51414408859069E-2</c:v>
                </c:pt>
                <c:pt idx="1">
                  <c:v>5.7653934824824546E-2</c:v>
                </c:pt>
                <c:pt idx="2">
                  <c:v>5.0989845946645504E-2</c:v>
                </c:pt>
                <c:pt idx="3">
                  <c:v>4.5239010002525525E-2</c:v>
                </c:pt>
                <c:pt idx="4">
                  <c:v>4.3449839249138977E-2</c:v>
                </c:pt>
                <c:pt idx="5">
                  <c:v>4.3439826197538202E-2</c:v>
                </c:pt>
                <c:pt idx="6">
                  <c:v>3.5574456439123346E-2</c:v>
                </c:pt>
                <c:pt idx="7">
                  <c:v>3.1127252066347304E-2</c:v>
                </c:pt>
                <c:pt idx="8">
                  <c:v>2.7931342017124321E-2</c:v>
                </c:pt>
                <c:pt idx="9">
                  <c:v>2.7190011923931404E-2</c:v>
                </c:pt>
                <c:pt idx="10">
                  <c:v>2.2669224615202526E-2</c:v>
                </c:pt>
                <c:pt idx="11">
                  <c:v>2.262087571491693E-2</c:v>
                </c:pt>
                <c:pt idx="12">
                  <c:v>2.0306599205588527E-2</c:v>
                </c:pt>
                <c:pt idx="13">
                  <c:v>1.9411970202760011E-2</c:v>
                </c:pt>
                <c:pt idx="14">
                  <c:v>1.7274467743632779E-2</c:v>
                </c:pt>
                <c:pt idx="15">
                  <c:v>1.7239033747521032E-2</c:v>
                </c:pt>
                <c:pt idx="16">
                  <c:v>1.7121208375642096E-2</c:v>
                </c:pt>
                <c:pt idx="17">
                  <c:v>1.5276755177081247E-2</c:v>
                </c:pt>
                <c:pt idx="18">
                  <c:v>1.4801479916641047E-2</c:v>
                </c:pt>
                <c:pt idx="19">
                  <c:v>1.4635597677936868E-2</c:v>
                </c:pt>
                <c:pt idx="20">
                  <c:v>1.4017605909262775E-2</c:v>
                </c:pt>
                <c:pt idx="21">
                  <c:v>1.3478950102921931E-2</c:v>
                </c:pt>
                <c:pt idx="22">
                  <c:v>1.2439860536621893E-2</c:v>
                </c:pt>
                <c:pt idx="23">
                  <c:v>1.2186705727385644E-2</c:v>
                </c:pt>
                <c:pt idx="24">
                  <c:v>1.1990017172752665E-2</c:v>
                </c:pt>
                <c:pt idx="25">
                  <c:v>1.1985571677062004E-2</c:v>
                </c:pt>
                <c:pt idx="26">
                  <c:v>1.1757434904516799E-2</c:v>
                </c:pt>
                <c:pt idx="27">
                  <c:v>1.0843275834079649E-2</c:v>
                </c:pt>
                <c:pt idx="28">
                  <c:v>1.0537291863827481E-2</c:v>
                </c:pt>
                <c:pt idx="29">
                  <c:v>1.0345353145786079E-2</c:v>
                </c:pt>
                <c:pt idx="30">
                  <c:v>9.8912365373893963E-3</c:v>
                </c:pt>
                <c:pt idx="31">
                  <c:v>9.873564537721256E-3</c:v>
                </c:pt>
                <c:pt idx="32">
                  <c:v>9.7073069591359692E-3</c:v>
                </c:pt>
                <c:pt idx="33">
                  <c:v>9.5892743446971979E-3</c:v>
                </c:pt>
                <c:pt idx="34">
                  <c:v>9.2706831543767996E-3</c:v>
                </c:pt>
                <c:pt idx="35">
                  <c:v>9.2396955919055185E-3</c:v>
                </c:pt>
                <c:pt idx="36">
                  <c:v>9.2396590164462774E-3</c:v>
                </c:pt>
                <c:pt idx="37">
                  <c:v>9.2289543160112807E-3</c:v>
                </c:pt>
                <c:pt idx="38">
                  <c:v>7.5567615073431332E-3</c:v>
                </c:pt>
                <c:pt idx="39">
                  <c:v>7.2114638585842744E-3</c:v>
                </c:pt>
                <c:pt idx="40">
                  <c:v>7.0185024293124261E-3</c:v>
                </c:pt>
                <c:pt idx="41">
                  <c:v>6.9291913848727876E-3</c:v>
                </c:pt>
                <c:pt idx="42">
                  <c:v>6.820152279905076E-3</c:v>
                </c:pt>
                <c:pt idx="43">
                  <c:v>6.6520349531951056E-3</c:v>
                </c:pt>
                <c:pt idx="44">
                  <c:v>6.5636080369282602E-3</c:v>
                </c:pt>
                <c:pt idx="45">
                  <c:v>6.498055203073074E-3</c:v>
                </c:pt>
                <c:pt idx="46">
                  <c:v>6.1302395737766842E-3</c:v>
                </c:pt>
                <c:pt idx="47">
                  <c:v>6.0536642957172418E-3</c:v>
                </c:pt>
                <c:pt idx="48">
                  <c:v>5.5574951596493666E-3</c:v>
                </c:pt>
                <c:pt idx="49">
                  <c:v>5.2564957148602213E-3</c:v>
                </c:pt>
                <c:pt idx="50">
                  <c:v>5.2125900152414925E-3</c:v>
                </c:pt>
                <c:pt idx="51">
                  <c:v>5.0222268612399338E-3</c:v>
                </c:pt>
                <c:pt idx="52">
                  <c:v>4.828162661590427E-3</c:v>
                </c:pt>
                <c:pt idx="53">
                  <c:v>4.8065231633641946E-3</c:v>
                </c:pt>
                <c:pt idx="54">
                  <c:v>4.7048131609414689E-3</c:v>
                </c:pt>
                <c:pt idx="55">
                  <c:v>4.5896921352313368E-3</c:v>
                </c:pt>
                <c:pt idx="56">
                  <c:v>4.5323423043839546E-3</c:v>
                </c:pt>
                <c:pt idx="57">
                  <c:v>4.1616080500978736E-3</c:v>
                </c:pt>
                <c:pt idx="58">
                  <c:v>4.1000387907834191E-3</c:v>
                </c:pt>
                <c:pt idx="59">
                  <c:v>3.9388838125764382E-3</c:v>
                </c:pt>
                <c:pt idx="60">
                  <c:v>3.787332325945449E-3</c:v>
                </c:pt>
                <c:pt idx="61">
                  <c:v>3.6476151411236261E-3</c:v>
                </c:pt>
                <c:pt idx="62">
                  <c:v>3.4475373998594338E-3</c:v>
                </c:pt>
                <c:pt idx="63">
                  <c:v>3.0854409802432928E-3</c:v>
                </c:pt>
                <c:pt idx="64">
                  <c:v>3.055461947403896E-3</c:v>
                </c:pt>
                <c:pt idx="65">
                  <c:v>3.0528911770792565E-3</c:v>
                </c:pt>
                <c:pt idx="66">
                  <c:v>2.7863366135613388E-3</c:v>
                </c:pt>
                <c:pt idx="67">
                  <c:v>2.6888621045869478E-3</c:v>
                </c:pt>
                <c:pt idx="68">
                  <c:v>1.8629165514105564E-3</c:v>
                </c:pt>
                <c:pt idx="69">
                  <c:v>1.6508625317007062E-3</c:v>
                </c:pt>
                <c:pt idx="70">
                  <c:v>1.6363329121404466E-3</c:v>
                </c:pt>
                <c:pt idx="71">
                  <c:v>1.5045702201382832E-3</c:v>
                </c:pt>
                <c:pt idx="72">
                  <c:v>1.4934592781012061E-3</c:v>
                </c:pt>
                <c:pt idx="73">
                  <c:v>1.2947410175170107E-3</c:v>
                </c:pt>
                <c:pt idx="74">
                  <c:v>1.229089010699395E-3</c:v>
                </c:pt>
                <c:pt idx="75">
                  <c:v>1.152850222874118E-3</c:v>
                </c:pt>
                <c:pt idx="76">
                  <c:v>1.1215740169018982E-3</c:v>
                </c:pt>
                <c:pt idx="77">
                  <c:v>1.0809784720831341E-3</c:v>
                </c:pt>
                <c:pt idx="78">
                  <c:v>9.1595293809040444E-4</c:v>
                </c:pt>
                <c:pt idx="79">
                  <c:v>7.1466292914546144E-4</c:v>
                </c:pt>
                <c:pt idx="80">
                  <c:v>6.1940007184384986E-4</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Lip balm FPS30 1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006C6D"/>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r>
                      <a:rPr lang="en-US" sz="500">
                        <a:solidFill>
                          <a:srgbClr val="006C6D"/>
                        </a:solidFill>
                      </a:rPr>
                      <a:t>Hawaiian Tropic Silk Hydration Lip balm FPS3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Hawaiian Tropic Silk Hydration Lip balm FPS30 10g</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82908813210753E-2</c:v>
                </c:pt>
                <c:pt idx="1">
                  <c:v>5.7669913875772236E-2</c:v>
                </c:pt>
                <c:pt idx="2">
                  <c:v>5.1001046149208723E-2</c:v>
                </c:pt>
                <c:pt idx="3">
                  <c:v>4.524262085281025E-2</c:v>
                </c:pt>
                <c:pt idx="4">
                  <c:v>4.3479951143822318E-2</c:v>
                </c:pt>
                <c:pt idx="5">
                  <c:v>4.3459563522846467E-2</c:v>
                </c:pt>
                <c:pt idx="6">
                  <c:v>3.5574601152652673E-2</c:v>
                </c:pt>
                <c:pt idx="7">
                  <c:v>3.1147672587277204E-2</c:v>
                </c:pt>
                <c:pt idx="8">
                  <c:v>2.7937141641373491E-2</c:v>
                </c:pt>
                <c:pt idx="9">
                  <c:v>2.7189876909365873E-2</c:v>
                </c:pt>
                <c:pt idx="10">
                  <c:v>2.2656084371174601E-2</c:v>
                </c:pt>
                <c:pt idx="11">
                  <c:v>2.2624295923573189E-2</c:v>
                </c:pt>
                <c:pt idx="12">
                  <c:v>2.0297719424645245E-2</c:v>
                </c:pt>
                <c:pt idx="13">
                  <c:v>1.9412354297998813E-2</c:v>
                </c:pt>
                <c:pt idx="14">
                  <c:v>1.7282732520830121E-2</c:v>
                </c:pt>
                <c:pt idx="15">
                  <c:v>1.7242761439832891E-2</c:v>
                </c:pt>
                <c:pt idx="16">
                  <c:v>1.71195997836666E-2</c:v>
                </c:pt>
                <c:pt idx="17">
                  <c:v>1.5265376682592067E-2</c:v>
                </c:pt>
                <c:pt idx="18">
                  <c:v>1.480175713055774E-2</c:v>
                </c:pt>
                <c:pt idx="19">
                  <c:v>1.4614983307310796E-2</c:v>
                </c:pt>
                <c:pt idx="20">
                  <c:v>1.4039676866060575E-2</c:v>
                </c:pt>
                <c:pt idx="21">
                  <c:v>1.3473308207565413E-2</c:v>
                </c:pt>
                <c:pt idx="22">
                  <c:v>1.2433422912423447E-2</c:v>
                </c:pt>
                <c:pt idx="23">
                  <c:v>1.2203253455713766E-2</c:v>
                </c:pt>
                <c:pt idx="24">
                  <c:v>1.1995255157805917E-2</c:v>
                </c:pt>
                <c:pt idx="25">
                  <c:v>1.1971028823848534E-2</c:v>
                </c:pt>
                <c:pt idx="26">
                  <c:v>1.1744833036825346E-2</c:v>
                </c:pt>
                <c:pt idx="27">
                  <c:v>1.0836915132393349E-2</c:v>
                </c:pt>
                <c:pt idx="28">
                  <c:v>1.0518514283227746E-2</c:v>
                </c:pt>
                <c:pt idx="29">
                  <c:v>1.0320300086593438E-2</c:v>
                </c:pt>
                <c:pt idx="30">
                  <c:v>9.8839317239259594E-3</c:v>
                </c:pt>
                <c:pt idx="31">
                  <c:v>9.8549270857797508E-3</c:v>
                </c:pt>
                <c:pt idx="32">
                  <c:v>9.6990742603339404E-3</c:v>
                </c:pt>
                <c:pt idx="33">
                  <c:v>9.5918045080244409E-3</c:v>
                </c:pt>
                <c:pt idx="34">
                  <c:v>9.2634878951517747E-3</c:v>
                </c:pt>
                <c:pt idx="35">
                  <c:v>9.2447633440801164E-3</c:v>
                </c:pt>
                <c:pt idx="36">
                  <c:v>9.2428332653184484E-3</c:v>
                </c:pt>
                <c:pt idx="37">
                  <c:v>9.2176092315326853E-3</c:v>
                </c:pt>
                <c:pt idx="38">
                  <c:v>7.5440009429491644E-3</c:v>
                </c:pt>
                <c:pt idx="39">
                  <c:v>7.2016748989086445E-3</c:v>
                </c:pt>
                <c:pt idx="40">
                  <c:v>7.0072662954029667E-3</c:v>
                </c:pt>
                <c:pt idx="41">
                  <c:v>6.9172119409838572E-3</c:v>
                </c:pt>
                <c:pt idx="42">
                  <c:v>6.8364430297622849E-3</c:v>
                </c:pt>
                <c:pt idx="43">
                  <c:v>6.6441603482164241E-3</c:v>
                </c:pt>
                <c:pt idx="44">
                  <c:v>6.5583711524093459E-3</c:v>
                </c:pt>
                <c:pt idx="45">
                  <c:v>6.5045590779752799E-3</c:v>
                </c:pt>
                <c:pt idx="46">
                  <c:v>6.1308680580853953E-3</c:v>
                </c:pt>
                <c:pt idx="47">
                  <c:v>6.0396609855432959E-3</c:v>
                </c:pt>
                <c:pt idx="48">
                  <c:v>5.5487543241071312E-3</c:v>
                </c:pt>
                <c:pt idx="49">
                  <c:v>5.267242801920753E-3</c:v>
                </c:pt>
                <c:pt idx="50">
                  <c:v>5.2174398128177037E-3</c:v>
                </c:pt>
                <c:pt idx="51">
                  <c:v>5.027796912348551E-3</c:v>
                </c:pt>
                <c:pt idx="52">
                  <c:v>4.8355819113872298E-3</c:v>
                </c:pt>
                <c:pt idx="53">
                  <c:v>4.8061431790169945E-3</c:v>
                </c:pt>
                <c:pt idx="54">
                  <c:v>4.7066410638729817E-3</c:v>
                </c:pt>
                <c:pt idx="55">
                  <c:v>4.5877036114847919E-3</c:v>
                </c:pt>
                <c:pt idx="56">
                  <c:v>4.5189810255768011E-3</c:v>
                </c:pt>
                <c:pt idx="57">
                  <c:v>4.1603354841201938E-3</c:v>
                </c:pt>
                <c:pt idx="58">
                  <c:v>4.0996550546750872E-3</c:v>
                </c:pt>
                <c:pt idx="59">
                  <c:v>3.9317147134321244E-3</c:v>
                </c:pt>
                <c:pt idx="60">
                  <c:v>3.7802517937025808E-3</c:v>
                </c:pt>
                <c:pt idx="61">
                  <c:v>3.6461488322010655E-3</c:v>
                </c:pt>
                <c:pt idx="62">
                  <c:v>3.4493844833214759E-3</c:v>
                </c:pt>
                <c:pt idx="63">
                  <c:v>3.1284243210084532E-3</c:v>
                </c:pt>
                <c:pt idx="64">
                  <c:v>3.088382144875139E-3</c:v>
                </c:pt>
                <c:pt idx="65">
                  <c:v>3.0540762835527375E-3</c:v>
                </c:pt>
                <c:pt idx="66">
                  <c:v>2.7850255567319635E-3</c:v>
                </c:pt>
                <c:pt idx="67">
                  <c:v>2.6902081441484717E-3</c:v>
                </c:pt>
                <c:pt idx="68">
                  <c:v>1.8589756370614796E-3</c:v>
                </c:pt>
                <c:pt idx="69">
                  <c:v>1.645467266597946E-3</c:v>
                </c:pt>
                <c:pt idx="70">
                  <c:v>1.6342774430306974E-3</c:v>
                </c:pt>
                <c:pt idx="71">
                  <c:v>1.5052389871508328E-3</c:v>
                </c:pt>
                <c:pt idx="72">
                  <c:v>1.4852630193365813E-3</c:v>
                </c:pt>
                <c:pt idx="73">
                  <c:v>1.291329619165855E-3</c:v>
                </c:pt>
                <c:pt idx="74">
                  <c:v>1.2283516268154463E-3</c:v>
                </c:pt>
                <c:pt idx="75">
                  <c:v>1.1537060276739551E-3</c:v>
                </c:pt>
                <c:pt idx="76">
                  <c:v>1.1177840434332315E-3</c:v>
                </c:pt>
                <c:pt idx="77">
                  <c:v>1.0772704367970436E-3</c:v>
                </c:pt>
                <c:pt idx="78">
                  <c:v>9.16494493197482E-4</c:v>
                </c:pt>
                <c:pt idx="79">
                  <c:v>7.1426453765056008E-4</c:v>
                </c:pt>
                <c:pt idx="80">
                  <c:v>6.1956787042360538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Glow Mist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spPr>
              <a:solidFill>
                <a:srgbClr val="7ECAC4"/>
              </a:solidFill>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006C6D"/>
              </a:solidFill>
            </c:spPr>
            <c:extLst>
              <c:ext xmlns:c16="http://schemas.microsoft.com/office/drawing/2014/chart" uri="{C3380CC4-5D6E-409C-BE32-E72D297353CC}">
                <c16:uniqueId val="{00000087-B2E8-4080-83D6-EECA18439E6A}"/>
              </c:ext>
            </c:extLst>
          </c:dPt>
          <c:dPt>
            <c:idx val="68"/>
            <c:invertIfNegative val="1"/>
            <c:bubble3D val="0"/>
            <c:spPr>
              <a:solidFill>
                <a:srgbClr val="7ECAC4"/>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r>
                      <a:rPr lang="en-US" sz="500">
                        <a:solidFill>
                          <a:srgbClr val="006C6D"/>
                        </a:solidFill>
                      </a:rPr>
                      <a:t>Hawaiian Tropic Silk Hydration Glow Mist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Hawaiian Tropic Silk Hydration Glow Mist FPS50+ 10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535798883301395E-2</c:v>
                </c:pt>
                <c:pt idx="1">
                  <c:v>5.7720872920682086E-2</c:v>
                </c:pt>
                <c:pt idx="2">
                  <c:v>5.1035505642474374E-2</c:v>
                </c:pt>
                <c:pt idx="3">
                  <c:v>4.5297214290850832E-2</c:v>
                </c:pt>
                <c:pt idx="4">
                  <c:v>4.3502025840678284E-2</c:v>
                </c:pt>
                <c:pt idx="5">
                  <c:v>4.3471898493294164E-2</c:v>
                </c:pt>
                <c:pt idx="6">
                  <c:v>3.5597106768285473E-2</c:v>
                </c:pt>
                <c:pt idx="7">
                  <c:v>3.1152763945719926E-2</c:v>
                </c:pt>
                <c:pt idx="8">
                  <c:v>2.7949356357386216E-2</c:v>
                </c:pt>
                <c:pt idx="9">
                  <c:v>2.7207973333783417E-2</c:v>
                </c:pt>
                <c:pt idx="10">
                  <c:v>2.2690226499898741E-2</c:v>
                </c:pt>
                <c:pt idx="11">
                  <c:v>2.2644414218920089E-2</c:v>
                </c:pt>
                <c:pt idx="12">
                  <c:v>2.0327969730152901E-2</c:v>
                </c:pt>
                <c:pt idx="13">
                  <c:v>1.9423808795131805E-2</c:v>
                </c:pt>
                <c:pt idx="14">
                  <c:v>1.7289189774076997E-2</c:v>
                </c:pt>
                <c:pt idx="15">
                  <c:v>1.726828063027129E-2</c:v>
                </c:pt>
                <c:pt idx="16">
                  <c:v>1.7135535053078639E-2</c:v>
                </c:pt>
                <c:pt idx="17">
                  <c:v>1.5294775434790034E-2</c:v>
                </c:pt>
                <c:pt idx="18">
                  <c:v>1.4820130395797337E-2</c:v>
                </c:pt>
                <c:pt idx="19">
                  <c:v>1.4640353047997498E-2</c:v>
                </c:pt>
                <c:pt idx="20">
                  <c:v>1.405226379916808E-2</c:v>
                </c:pt>
                <c:pt idx="21">
                  <c:v>1.3495246160869718E-2</c:v>
                </c:pt>
                <c:pt idx="22">
                  <c:v>1.2454284180743477E-2</c:v>
                </c:pt>
                <c:pt idx="23">
                  <c:v>1.2207912219199047E-2</c:v>
                </c:pt>
                <c:pt idx="24">
                  <c:v>1.2003050851292409E-2</c:v>
                </c:pt>
                <c:pt idx="25">
                  <c:v>1.1984700162141841E-2</c:v>
                </c:pt>
                <c:pt idx="26">
                  <c:v>1.1767471263965332E-2</c:v>
                </c:pt>
                <c:pt idx="27">
                  <c:v>1.0854282396732116E-2</c:v>
                </c:pt>
                <c:pt idx="28">
                  <c:v>1.0546404653164063E-2</c:v>
                </c:pt>
                <c:pt idx="29">
                  <c:v>1.0343115955406159E-2</c:v>
                </c:pt>
                <c:pt idx="30">
                  <c:v>9.8956988825404744E-3</c:v>
                </c:pt>
                <c:pt idx="31">
                  <c:v>9.8831908503998339E-3</c:v>
                </c:pt>
                <c:pt idx="32">
                  <c:v>9.716134271154293E-3</c:v>
                </c:pt>
                <c:pt idx="33">
                  <c:v>9.5909365420467352E-3</c:v>
                </c:pt>
                <c:pt idx="34">
                  <c:v>9.2821729613242372E-3</c:v>
                </c:pt>
                <c:pt idx="35">
                  <c:v>9.251826643594533E-3</c:v>
                </c:pt>
                <c:pt idx="36">
                  <c:v>9.2481870629316735E-3</c:v>
                </c:pt>
                <c:pt idx="37">
                  <c:v>9.2392065955023191E-3</c:v>
                </c:pt>
                <c:pt idx="38">
                  <c:v>7.553556274227464E-3</c:v>
                </c:pt>
                <c:pt idx="39">
                  <c:v>7.2217546307663917E-3</c:v>
                </c:pt>
                <c:pt idx="40">
                  <c:v>7.0273583152601956E-3</c:v>
                </c:pt>
                <c:pt idx="41">
                  <c:v>6.9434310242310789E-3</c:v>
                </c:pt>
                <c:pt idx="42">
                  <c:v>6.8437657662395448E-3</c:v>
                </c:pt>
                <c:pt idx="43">
                  <c:v>6.6528595120784184E-3</c:v>
                </c:pt>
                <c:pt idx="44">
                  <c:v>6.5739425071652648E-3</c:v>
                </c:pt>
                <c:pt idx="45">
                  <c:v>6.5135942867116095E-3</c:v>
                </c:pt>
                <c:pt idx="46">
                  <c:v>6.1383838531141235E-3</c:v>
                </c:pt>
                <c:pt idx="47">
                  <c:v>6.0579252882831183E-3</c:v>
                </c:pt>
                <c:pt idx="48">
                  <c:v>5.5638311527614883E-3</c:v>
                </c:pt>
                <c:pt idx="49">
                  <c:v>5.2576361740359744E-3</c:v>
                </c:pt>
                <c:pt idx="50">
                  <c:v>5.2152838494298982E-3</c:v>
                </c:pt>
                <c:pt idx="51">
                  <c:v>5.0294382597160948E-3</c:v>
                </c:pt>
                <c:pt idx="52">
                  <c:v>4.8378391598491843E-3</c:v>
                </c:pt>
                <c:pt idx="53">
                  <c:v>4.8132428674289357E-3</c:v>
                </c:pt>
                <c:pt idx="54">
                  <c:v>4.7140900331897242E-3</c:v>
                </c:pt>
                <c:pt idx="55">
                  <c:v>4.6031084877950993E-3</c:v>
                </c:pt>
                <c:pt idx="56">
                  <c:v>4.5353758724743821E-3</c:v>
                </c:pt>
                <c:pt idx="57">
                  <c:v>4.1656874530065511E-3</c:v>
                </c:pt>
                <c:pt idx="58">
                  <c:v>4.1069441794026502E-3</c:v>
                </c:pt>
                <c:pt idx="59">
                  <c:v>3.9509002404723948E-3</c:v>
                </c:pt>
                <c:pt idx="60">
                  <c:v>3.7848996004548031E-3</c:v>
                </c:pt>
                <c:pt idx="61">
                  <c:v>3.6492790362622957E-3</c:v>
                </c:pt>
                <c:pt idx="62">
                  <c:v>3.451772818452077E-3</c:v>
                </c:pt>
                <c:pt idx="63">
                  <c:v>3.0895842319277416E-3</c:v>
                </c:pt>
                <c:pt idx="64">
                  <c:v>3.0546251082165647E-3</c:v>
                </c:pt>
                <c:pt idx="65">
                  <c:v>2.7891568903208341E-3</c:v>
                </c:pt>
                <c:pt idx="66">
                  <c:v>2.6881574962055082E-3</c:v>
                </c:pt>
                <c:pt idx="67">
                  <c:v>2.0711394486087778E-3</c:v>
                </c:pt>
                <c:pt idx="68">
                  <c:v>1.8656182466021088E-3</c:v>
                </c:pt>
                <c:pt idx="69">
                  <c:v>1.64906879366254E-3</c:v>
                </c:pt>
                <c:pt idx="70">
                  <c:v>1.6352166803877053E-3</c:v>
                </c:pt>
                <c:pt idx="71">
                  <c:v>1.5053560731684043E-3</c:v>
                </c:pt>
                <c:pt idx="72">
                  <c:v>1.4917381546967043E-3</c:v>
                </c:pt>
                <c:pt idx="73">
                  <c:v>1.2904189826196898E-3</c:v>
                </c:pt>
                <c:pt idx="74">
                  <c:v>1.2314456888632681E-3</c:v>
                </c:pt>
                <c:pt idx="75">
                  <c:v>1.154501090257983E-3</c:v>
                </c:pt>
                <c:pt idx="76">
                  <c:v>1.1207619230250972E-3</c:v>
                </c:pt>
                <c:pt idx="77">
                  <c:v>1.0832300278901938E-3</c:v>
                </c:pt>
                <c:pt idx="78">
                  <c:v>9.1703544958991691E-4</c:v>
                </c:pt>
                <c:pt idx="79">
                  <c:v>7.1650154984770733E-4</c:v>
                </c:pt>
                <c:pt idx="80">
                  <c:v>6.1925801255246615E-4</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awaiian Tropic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B$2:$B$4</c:f>
              <c:numCache>
                <c:formatCode>General</c:formatCode>
                <c:ptCount val="3"/>
                <c:pt idx="0">
                  <c:v>102.05457788243133</c:v>
                </c:pt>
                <c:pt idx="1">
                  <c:v>121.30756339871796</c:v>
                </c:pt>
                <c:pt idx="2">
                  <c:v>101.3890038670097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awaiian Tropic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C$2:$C$4</c:f>
              <c:numCache>
                <c:formatCode>General</c:formatCode>
                <c:ptCount val="3"/>
                <c:pt idx="0">
                  <c:v>101.41701088317639</c:v>
                </c:pt>
                <c:pt idx="1">
                  <c:v>111.46153354640953</c:v>
                </c:pt>
                <c:pt idx="2">
                  <c:v>101.01633941904471</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awaiian Tropic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D$2:$D$4</c:f>
              <c:numCache>
                <c:formatCode>General</c:formatCode>
                <c:ptCount val="3"/>
                <c:pt idx="0">
                  <c:v>101.33537758851678</c:v>
                </c:pt>
                <c:pt idx="1">
                  <c:v>108.91485629565763</c:v>
                </c:pt>
                <c:pt idx="2">
                  <c:v>100.58254549235086</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Advanced Protection Lotion FPS50+ 36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Hawaiian Tropic Island Sport Lotion FPS50 240ml</c:v>
                </c:pt>
                <c:pt idx="1">
                  <c:v>Hawaiian Tropic Sheer Touch Lotion FPS50+ 240ml</c:v>
                </c:pt>
                <c:pt idx="2">
                  <c:v>Nivea Sun Protection &amp; Hydration Cream FPS50+ 200ml</c:v>
                </c:pt>
                <c:pt idx="3">
                  <c:v>Hawaiian Tropic Ozono Lotion FPS50+ 240ml</c:v>
                </c:pt>
                <c:pt idx="4">
                  <c:v>Banana Boat Advanced Protection Lotion FPS50+ 240ml</c:v>
                </c:pt>
                <c:pt idx="5">
                  <c:v>Nivea Sun Protect &amp; Refresh Sport Lotion FPS50 200ml</c:v>
                </c:pt>
                <c:pt idx="6">
                  <c:v>Nivea Sun Protection Sensitive Skin Gel FPS50+ 200ml</c:v>
                </c:pt>
                <c:pt idx="7">
                  <c:v>Banana Boat Aqua Protect Cream FPS50+ 236ml</c:v>
                </c:pt>
                <c:pt idx="8">
                  <c:v>Banana Boat Aqua Protect Sport Lotion FPS50+ 236ml</c:v>
                </c:pt>
                <c:pt idx="9">
                  <c:v>Nivea Sun Protect &amp; Refresh Sport Spray FPS50 200ml</c:v>
                </c:pt>
                <c:pt idx="10">
                  <c:v>Nivea Sun Protection &amp; Hydration Lotion FPS50+ 125ml</c:v>
                </c:pt>
              </c:strCache>
            </c:strRef>
          </c:cat>
          <c:val>
            <c:numRef>
              <c:f>Sheet1!$B$2:$B$12</c:f>
              <c:numCache>
                <c:formatCode>General</c:formatCode>
                <c:ptCount val="11"/>
                <c:pt idx="0">
                  <c:v>8.5389881146745797E-2</c:v>
                </c:pt>
                <c:pt idx="1">
                  <c:v>7.9383082531765223E-2</c:v>
                </c:pt>
                <c:pt idx="2">
                  <c:v>7.5744875873584805E-2</c:v>
                </c:pt>
                <c:pt idx="3">
                  <c:v>6.2522941177490604E-2</c:v>
                </c:pt>
                <c:pt idx="4">
                  <c:v>5.2141079316675575E-2</c:v>
                </c:pt>
                <c:pt idx="5">
                  <c:v>5.1529563654607938E-2</c:v>
                </c:pt>
                <c:pt idx="6">
                  <c:v>5.0487038350671462E-2</c:v>
                </c:pt>
                <c:pt idx="7">
                  <c:v>4.6931726037380939E-2</c:v>
                </c:pt>
                <c:pt idx="8">
                  <c:v>3.6718341125958211E-2</c:v>
                </c:pt>
                <c:pt idx="9">
                  <c:v>2.8103613350529199E-2</c:v>
                </c:pt>
                <c:pt idx="10">
                  <c:v>2.6681444135648526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Silk Hydration Serum FPS50 1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6.0872597085355883E-2</c:v>
                </c:pt>
                <c:pt idx="1">
                  <c:v>5.1769634758080635E-2</c:v>
                </c:pt>
                <c:pt idx="2">
                  <c:v>5.1287216933008369E-2</c:v>
                </c:pt>
                <c:pt idx="3">
                  <c:v>4.1830726720909379E-2</c:v>
                </c:pt>
                <c:pt idx="4">
                  <c:v>3.5846563190143114E-2</c:v>
                </c:pt>
                <c:pt idx="5">
                  <c:v>3.375950539595541E-2</c:v>
                </c:pt>
                <c:pt idx="6">
                  <c:v>2.8543600969109507E-2</c:v>
                </c:pt>
                <c:pt idx="7">
                  <c:v>2.2245365815905329E-2</c:v>
                </c:pt>
                <c:pt idx="8">
                  <c:v>2.531228839620376E-2</c:v>
                </c:pt>
                <c:pt idx="9">
                  <c:v>2.6505541978916889E-2</c:v>
                </c:pt>
                <c:pt idx="10">
                  <c:v>2.0167295863398049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Silk Hydration Lip balm FPS30 1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4.9385723875355558E-2</c:v>
                </c:pt>
                <c:pt idx="1">
                  <c:v>4.0936983353233175E-2</c:v>
                </c:pt>
                <c:pt idx="2">
                  <c:v>4.498337640272608E-2</c:v>
                </c:pt>
                <c:pt idx="3">
                  <c:v>3.9700926312715712E-2</c:v>
                </c:pt>
                <c:pt idx="4">
                  <c:v>2.870150441596174E-2</c:v>
                </c:pt>
                <c:pt idx="5">
                  <c:v>2.939201083427798E-2</c:v>
                </c:pt>
                <c:pt idx="6">
                  <c:v>2.7831637955557677E-2</c:v>
                </c:pt>
                <c:pt idx="7">
                  <c:v>2.4564970034208027E-2</c:v>
                </c:pt>
                <c:pt idx="8">
                  <c:v>1.819453092861309E-2</c:v>
                </c:pt>
                <c:pt idx="9">
                  <c:v>1.8832393584993539E-2</c:v>
                </c:pt>
                <c:pt idx="10">
                  <c:v>2.389722155608167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awaiian Tropic Silk Hydration Glow Mist FPS50+ 1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4.9059675658189784E-2</c:v>
                </c:pt>
                <c:pt idx="1">
                  <c:v>5.1176446649309378E-2</c:v>
                </c:pt>
                <c:pt idx="2">
                  <c:v>4.3342346614958727E-2</c:v>
                </c:pt>
                <c:pt idx="3">
                  <c:v>3.3608507360255051E-2</c:v>
                </c:pt>
                <c:pt idx="4">
                  <c:v>3.7397536930097751E-2</c:v>
                </c:pt>
                <c:pt idx="5">
                  <c:v>2.7758241150911373E-2</c:v>
                </c:pt>
                <c:pt idx="6">
                  <c:v>3.1172964951363565E-2</c:v>
                </c:pt>
                <c:pt idx="7">
                  <c:v>2.2499375512115075E-2</c:v>
                </c:pt>
                <c:pt idx="8">
                  <c:v>2.5024319177786865E-2</c:v>
                </c:pt>
                <c:pt idx="9">
                  <c:v>2.2368742499551442E-2</c:v>
                </c:pt>
                <c:pt idx="10">
                  <c:v>1.9611678211101474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qua Protect Sport Spray FPS50+ 24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7ECAC4"/>
              </a:solidFill>
            </c:spPr>
            <c:extLst>
              <c:ext xmlns:c16="http://schemas.microsoft.com/office/drawing/2014/chart" uri="{C3380CC4-5D6E-409C-BE32-E72D297353CC}">
                <c16:uniqueId val="{00000035-7980-4C82-8C1C-32D5A7B4E44B}"/>
              </c:ext>
            </c:extLst>
          </c:dPt>
          <c:dPt>
            <c:idx val="46"/>
            <c:invertIfNegative val="1"/>
            <c:bubble3D val="0"/>
            <c:spPr>
              <a:solidFill>
                <a:srgbClr val="006C6D"/>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7ECAC4"/>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7ECAC4"/>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r>
                      <a:rPr lang="en-US" sz="500">
                        <a:solidFill>
                          <a:srgbClr val="006C6D"/>
                        </a:solidFill>
                      </a:rPr>
                      <a:t>Banana Boat Aqua Protect Sport Spray FPS50+ 2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Equate Ultra Spray FPS50 156g</c:v>
                </c:pt>
                <c:pt idx="15">
                  <c:v>Hawaiian Tropic Sheer Touch Lotion FPS30 240ml</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Aqua Protect Sport Spray FPS50+ 240ml</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Banana Boat Dry Balance Sport Lotion FPS50+ 180ml</c:v>
                </c:pt>
                <c:pt idx="55">
                  <c:v>Nuvel Suncare Kids Protection FPS50 120ml</c:v>
                </c:pt>
                <c:pt idx="56">
                  <c:v>Isdin Fotoprotector Face and Body Gel-Cream FPS50+ 250ml</c:v>
                </c:pt>
                <c:pt idx="57">
                  <c:v>Caribbean Beach Vitamin E Face Cream FPS50+ 85ml</c:v>
                </c:pt>
                <c:pt idx="58">
                  <c:v>Nuvel Suncare 2 in 1 FPS50 120ml</c:v>
                </c:pt>
                <c:pt idx="59">
                  <c:v>Banana Boat Kids Sport Spray FPS50 170g</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196802536035851E-2</c:v>
                </c:pt>
                <c:pt idx="1">
                  <c:v>5.7384672176622249E-2</c:v>
                </c:pt>
                <c:pt idx="2">
                  <c:v>5.086842923879871E-2</c:v>
                </c:pt>
                <c:pt idx="3">
                  <c:v>4.5204230331287551E-2</c:v>
                </c:pt>
                <c:pt idx="4">
                  <c:v>4.3330586883492492E-2</c:v>
                </c:pt>
                <c:pt idx="5">
                  <c:v>4.3303829202698263E-2</c:v>
                </c:pt>
                <c:pt idx="6">
                  <c:v>3.5417891733295043E-2</c:v>
                </c:pt>
                <c:pt idx="7">
                  <c:v>3.0895498633745532E-2</c:v>
                </c:pt>
                <c:pt idx="8">
                  <c:v>2.7817860414081443E-2</c:v>
                </c:pt>
                <c:pt idx="9">
                  <c:v>2.698642096970106E-2</c:v>
                </c:pt>
                <c:pt idx="10">
                  <c:v>2.2601396978396766E-2</c:v>
                </c:pt>
                <c:pt idx="11">
                  <c:v>2.2489922688570672E-2</c:v>
                </c:pt>
                <c:pt idx="12">
                  <c:v>2.0246337961338737E-2</c:v>
                </c:pt>
                <c:pt idx="13">
                  <c:v>1.9291100206824414E-2</c:v>
                </c:pt>
                <c:pt idx="14">
                  <c:v>1.7229070245822053E-2</c:v>
                </c:pt>
                <c:pt idx="15">
                  <c:v>1.7220210791726701E-2</c:v>
                </c:pt>
                <c:pt idx="16">
                  <c:v>1.7065659943231323E-2</c:v>
                </c:pt>
                <c:pt idx="17">
                  <c:v>1.5268579929434962E-2</c:v>
                </c:pt>
                <c:pt idx="18">
                  <c:v>1.4758452631656609E-2</c:v>
                </c:pt>
                <c:pt idx="19">
                  <c:v>1.4630415922116776E-2</c:v>
                </c:pt>
                <c:pt idx="20">
                  <c:v>1.4024500451278815E-2</c:v>
                </c:pt>
                <c:pt idx="21">
                  <c:v>1.3450821111658401E-2</c:v>
                </c:pt>
                <c:pt idx="22">
                  <c:v>1.2405429966027323E-2</c:v>
                </c:pt>
                <c:pt idx="23">
                  <c:v>1.2020563308082611E-2</c:v>
                </c:pt>
                <c:pt idx="24">
                  <c:v>1.1984635222990685E-2</c:v>
                </c:pt>
                <c:pt idx="25">
                  <c:v>1.1940577242093726E-2</c:v>
                </c:pt>
                <c:pt idx="26">
                  <c:v>1.1747904910178507E-2</c:v>
                </c:pt>
                <c:pt idx="27">
                  <c:v>1.0828424657115254E-2</c:v>
                </c:pt>
                <c:pt idx="28">
                  <c:v>1.053577755968456E-2</c:v>
                </c:pt>
                <c:pt idx="29">
                  <c:v>1.0344855149068943E-2</c:v>
                </c:pt>
                <c:pt idx="30">
                  <c:v>9.8755667011730976E-3</c:v>
                </c:pt>
                <c:pt idx="31">
                  <c:v>9.8597609610264793E-3</c:v>
                </c:pt>
                <c:pt idx="32">
                  <c:v>9.7046486194961416E-3</c:v>
                </c:pt>
                <c:pt idx="33">
                  <c:v>9.5766876737705571E-3</c:v>
                </c:pt>
                <c:pt idx="34">
                  <c:v>9.2756484708398628E-3</c:v>
                </c:pt>
                <c:pt idx="35">
                  <c:v>9.2294739781405132E-3</c:v>
                </c:pt>
                <c:pt idx="36">
                  <c:v>9.2192010959269433E-3</c:v>
                </c:pt>
                <c:pt idx="37">
                  <c:v>9.2136088142022524E-3</c:v>
                </c:pt>
                <c:pt idx="38">
                  <c:v>7.5309112356745159E-3</c:v>
                </c:pt>
                <c:pt idx="39">
                  <c:v>7.2217959233220998E-3</c:v>
                </c:pt>
                <c:pt idx="40">
                  <c:v>7.0151228265985998E-3</c:v>
                </c:pt>
                <c:pt idx="41">
                  <c:v>6.9305658983406055E-3</c:v>
                </c:pt>
                <c:pt idx="42">
                  <c:v>6.8225452316320332E-3</c:v>
                </c:pt>
                <c:pt idx="43">
                  <c:v>6.6379842039925811E-3</c:v>
                </c:pt>
                <c:pt idx="44">
                  <c:v>6.5521202429368857E-3</c:v>
                </c:pt>
                <c:pt idx="45">
                  <c:v>6.4492392608999855E-3</c:v>
                </c:pt>
                <c:pt idx="46">
                  <c:v>6.2102456317788112E-3</c:v>
                </c:pt>
                <c:pt idx="47">
                  <c:v>6.0886887747281879E-3</c:v>
                </c:pt>
                <c:pt idx="48">
                  <c:v>6.0434541365721947E-3</c:v>
                </c:pt>
                <c:pt idx="49">
                  <c:v>5.5412081449822594E-3</c:v>
                </c:pt>
                <c:pt idx="50">
                  <c:v>5.2424898468376229E-3</c:v>
                </c:pt>
                <c:pt idx="51">
                  <c:v>5.1913238769654632E-3</c:v>
                </c:pt>
                <c:pt idx="52">
                  <c:v>4.9952932096061515E-3</c:v>
                </c:pt>
                <c:pt idx="53">
                  <c:v>4.7755077394173616E-3</c:v>
                </c:pt>
                <c:pt idx="54">
                  <c:v>4.760971373249474E-3</c:v>
                </c:pt>
                <c:pt idx="55">
                  <c:v>4.7006014631438813E-3</c:v>
                </c:pt>
                <c:pt idx="56">
                  <c:v>4.5771059849729519E-3</c:v>
                </c:pt>
                <c:pt idx="57">
                  <c:v>4.5365707398712729E-3</c:v>
                </c:pt>
                <c:pt idx="58">
                  <c:v>4.1013926393756251E-3</c:v>
                </c:pt>
                <c:pt idx="59">
                  <c:v>4.0919370857026207E-3</c:v>
                </c:pt>
                <c:pt idx="60">
                  <c:v>3.9408611206632818E-3</c:v>
                </c:pt>
                <c:pt idx="61">
                  <c:v>3.7725623847808974E-3</c:v>
                </c:pt>
                <c:pt idx="62">
                  <c:v>3.6291457123819033E-3</c:v>
                </c:pt>
                <c:pt idx="63">
                  <c:v>3.4416344318070158E-3</c:v>
                </c:pt>
                <c:pt idx="64">
                  <c:v>3.0601680660789663E-3</c:v>
                </c:pt>
                <c:pt idx="65">
                  <c:v>3.0255144156077721E-3</c:v>
                </c:pt>
                <c:pt idx="66">
                  <c:v>2.782197067086151E-3</c:v>
                </c:pt>
                <c:pt idx="67">
                  <c:v>2.6819361073437582E-3</c:v>
                </c:pt>
                <c:pt idx="68">
                  <c:v>1.859204474072016E-3</c:v>
                </c:pt>
                <c:pt idx="69">
                  <c:v>1.6506827829952243E-3</c:v>
                </c:pt>
                <c:pt idx="70">
                  <c:v>1.6251790603494984E-3</c:v>
                </c:pt>
                <c:pt idx="71">
                  <c:v>1.4882326714780105E-3</c:v>
                </c:pt>
                <c:pt idx="72">
                  <c:v>1.4857420795246971E-3</c:v>
                </c:pt>
                <c:pt idx="73">
                  <c:v>1.2898986215958343E-3</c:v>
                </c:pt>
                <c:pt idx="74">
                  <c:v>1.2194073739001134E-3</c:v>
                </c:pt>
                <c:pt idx="75">
                  <c:v>1.1464526759151911E-3</c:v>
                </c:pt>
                <c:pt idx="76">
                  <c:v>1.1151762950450319E-3</c:v>
                </c:pt>
                <c:pt idx="77">
                  <c:v>1.0807385951723807E-3</c:v>
                </c:pt>
                <c:pt idx="78">
                  <c:v>9.1699484012301919E-4</c:v>
                </c:pt>
                <c:pt idx="79">
                  <c:v>7.1436133391503001E-4</c:v>
                </c:pt>
                <c:pt idx="80">
                  <c:v>6.1137910793080167E-4</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Dry Balance Sport Stick FPS50+ 4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006C6D"/>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r>
                      <a:rPr lang="en-US" sz="500">
                        <a:solidFill>
                          <a:srgbClr val="006C6D"/>
                        </a:solidFill>
                      </a:rPr>
                      <a:t>Banana Boat Dry Balance Sport Stick FPS50+ 4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anana Boat Dry Balance Sport Stick FPS50+ 40g</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535933945390643E-2</c:v>
                </c:pt>
                <c:pt idx="1">
                  <c:v>5.7659695215661645E-2</c:v>
                </c:pt>
                <c:pt idx="2">
                  <c:v>5.1045117711516923E-2</c:v>
                </c:pt>
                <c:pt idx="3">
                  <c:v>4.5306601547029521E-2</c:v>
                </c:pt>
                <c:pt idx="4">
                  <c:v>4.3540462212390101E-2</c:v>
                </c:pt>
                <c:pt idx="5">
                  <c:v>4.3499126861840202E-2</c:v>
                </c:pt>
                <c:pt idx="6">
                  <c:v>3.5606859684102307E-2</c:v>
                </c:pt>
                <c:pt idx="7">
                  <c:v>3.1131317228658192E-2</c:v>
                </c:pt>
                <c:pt idx="8">
                  <c:v>2.7950089333194945E-2</c:v>
                </c:pt>
                <c:pt idx="9">
                  <c:v>2.7202200767908889E-2</c:v>
                </c:pt>
                <c:pt idx="10">
                  <c:v>2.2694442765283564E-2</c:v>
                </c:pt>
                <c:pt idx="11">
                  <c:v>2.2607708578539731E-2</c:v>
                </c:pt>
                <c:pt idx="12">
                  <c:v>2.0332086285221963E-2</c:v>
                </c:pt>
                <c:pt idx="13">
                  <c:v>1.9409097495612277E-2</c:v>
                </c:pt>
                <c:pt idx="14">
                  <c:v>1.7299936957823208E-2</c:v>
                </c:pt>
                <c:pt idx="15">
                  <c:v>1.7269027128541902E-2</c:v>
                </c:pt>
                <c:pt idx="16">
                  <c:v>1.7129428900825135E-2</c:v>
                </c:pt>
                <c:pt idx="17">
                  <c:v>1.5300942400360082E-2</c:v>
                </c:pt>
                <c:pt idx="18">
                  <c:v>1.480969411766862E-2</c:v>
                </c:pt>
                <c:pt idx="19">
                  <c:v>1.4656431584780161E-2</c:v>
                </c:pt>
                <c:pt idx="20">
                  <c:v>1.4071797626185677E-2</c:v>
                </c:pt>
                <c:pt idx="21">
                  <c:v>1.3504894163045875E-2</c:v>
                </c:pt>
                <c:pt idx="22">
                  <c:v>1.2454817041380212E-2</c:v>
                </c:pt>
                <c:pt idx="23">
                  <c:v>1.2156998399738037E-2</c:v>
                </c:pt>
                <c:pt idx="24">
                  <c:v>1.2006574117825665E-2</c:v>
                </c:pt>
                <c:pt idx="25">
                  <c:v>1.198907370474255E-2</c:v>
                </c:pt>
                <c:pt idx="26">
                  <c:v>1.1770211254224323E-2</c:v>
                </c:pt>
                <c:pt idx="27">
                  <c:v>1.0850363920835E-2</c:v>
                </c:pt>
                <c:pt idx="28">
                  <c:v>1.0558303480337866E-2</c:v>
                </c:pt>
                <c:pt idx="29">
                  <c:v>1.0351122493888344E-2</c:v>
                </c:pt>
                <c:pt idx="30">
                  <c:v>9.8903337129027519E-3</c:v>
                </c:pt>
                <c:pt idx="31">
                  <c:v>9.8844070463813202E-3</c:v>
                </c:pt>
                <c:pt idx="32">
                  <c:v>9.728900638728671E-3</c:v>
                </c:pt>
                <c:pt idx="33">
                  <c:v>9.6128088750666637E-3</c:v>
                </c:pt>
                <c:pt idx="34">
                  <c:v>9.2900939890578228E-3</c:v>
                </c:pt>
                <c:pt idx="35">
                  <c:v>9.2636091159197624E-3</c:v>
                </c:pt>
                <c:pt idx="36">
                  <c:v>9.252059782216715E-3</c:v>
                </c:pt>
                <c:pt idx="37">
                  <c:v>9.2504808534696406E-3</c:v>
                </c:pt>
                <c:pt idx="38">
                  <c:v>7.5663674838417332E-3</c:v>
                </c:pt>
                <c:pt idx="39">
                  <c:v>7.2315958979151124E-3</c:v>
                </c:pt>
                <c:pt idx="40">
                  <c:v>7.0336677661998618E-3</c:v>
                </c:pt>
                <c:pt idx="41">
                  <c:v>6.9393793488952832E-3</c:v>
                </c:pt>
                <c:pt idx="42">
                  <c:v>6.8398461386700677E-3</c:v>
                </c:pt>
                <c:pt idx="43">
                  <c:v>6.6529013523323396E-3</c:v>
                </c:pt>
                <c:pt idx="44">
                  <c:v>6.5723908874398846E-3</c:v>
                </c:pt>
                <c:pt idx="45">
                  <c:v>6.5005442198815128E-3</c:v>
                </c:pt>
                <c:pt idx="46">
                  <c:v>6.1241052381151989E-3</c:v>
                </c:pt>
                <c:pt idx="47">
                  <c:v>6.0639291656180722E-3</c:v>
                </c:pt>
                <c:pt idx="48">
                  <c:v>5.5588690893295803E-3</c:v>
                </c:pt>
                <c:pt idx="49">
                  <c:v>5.2746282837754545E-3</c:v>
                </c:pt>
                <c:pt idx="50">
                  <c:v>5.2271328708154196E-3</c:v>
                </c:pt>
                <c:pt idx="51">
                  <c:v>5.0256704521210119E-3</c:v>
                </c:pt>
                <c:pt idx="52">
                  <c:v>4.8258037687721198E-3</c:v>
                </c:pt>
                <c:pt idx="53">
                  <c:v>4.8043272719122078E-3</c:v>
                </c:pt>
                <c:pt idx="54">
                  <c:v>4.7157443328093513E-3</c:v>
                </c:pt>
                <c:pt idx="55">
                  <c:v>4.5952733687429134E-3</c:v>
                </c:pt>
                <c:pt idx="56">
                  <c:v>4.5369691104357578E-3</c:v>
                </c:pt>
                <c:pt idx="57">
                  <c:v>4.1575068606877858E-3</c:v>
                </c:pt>
                <c:pt idx="58">
                  <c:v>4.1026754667151206E-3</c:v>
                </c:pt>
                <c:pt idx="59">
                  <c:v>3.9496514470606578E-3</c:v>
                </c:pt>
                <c:pt idx="60">
                  <c:v>3.7853118246729167E-3</c:v>
                </c:pt>
                <c:pt idx="61">
                  <c:v>3.649550665525273E-3</c:v>
                </c:pt>
                <c:pt idx="62">
                  <c:v>3.4533811228186673E-3</c:v>
                </c:pt>
                <c:pt idx="63">
                  <c:v>3.0867165403017818E-3</c:v>
                </c:pt>
                <c:pt idx="64">
                  <c:v>3.0479690955595765E-3</c:v>
                </c:pt>
                <c:pt idx="65">
                  <c:v>2.7864388141406239E-3</c:v>
                </c:pt>
                <c:pt idx="66">
                  <c:v>2.6891510921169038E-3</c:v>
                </c:pt>
                <c:pt idx="67">
                  <c:v>2.0423592006343786E-3</c:v>
                </c:pt>
                <c:pt idx="68">
                  <c:v>1.8694827026608904E-3</c:v>
                </c:pt>
                <c:pt idx="69">
                  <c:v>1.6540953100851758E-3</c:v>
                </c:pt>
                <c:pt idx="70">
                  <c:v>1.6311244085207997E-3</c:v>
                </c:pt>
                <c:pt idx="71">
                  <c:v>1.4991662485609857E-3</c:v>
                </c:pt>
                <c:pt idx="72">
                  <c:v>1.4941229013151753E-3</c:v>
                </c:pt>
                <c:pt idx="73">
                  <c:v>1.2941766621935948E-3</c:v>
                </c:pt>
                <c:pt idx="74">
                  <c:v>1.230595479196185E-3</c:v>
                </c:pt>
                <c:pt idx="75">
                  <c:v>1.1535142314735042E-3</c:v>
                </c:pt>
                <c:pt idx="76">
                  <c:v>1.1219064952977897E-3</c:v>
                </c:pt>
                <c:pt idx="77">
                  <c:v>1.0849227566872388E-3</c:v>
                </c:pt>
                <c:pt idx="78">
                  <c:v>9.1843783863956754E-4</c:v>
                </c:pt>
                <c:pt idx="79">
                  <c:v>7.160294895445249E-4</c:v>
                </c:pt>
                <c:pt idx="80">
                  <c:v>6.1951635967157103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Dry Balance Sport Aerosol FPS50+ 2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spPr>
              <a:solidFill>
                <a:srgbClr val="7ECAC4"/>
              </a:solidFill>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7ECAC4"/>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006C6D"/>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7ECAC4"/>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r>
                      <a:rPr lang="it-IT" sz="500">
                        <a:solidFill>
                          <a:srgbClr val="006C6D"/>
                        </a:solidFill>
                      </a:rPr>
                      <a:t>Banana Boat Dry Balance Sport Aerosol FPS50+ 2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Banana Boat Dry Balance Sport Aerosol FPS50+ 200ml</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3416554248639E-2</c:v>
                </c:pt>
                <c:pt idx="1">
                  <c:v>5.7599605353781121E-2</c:v>
                </c:pt>
                <c:pt idx="2">
                  <c:v>5.0995549222821963E-2</c:v>
                </c:pt>
                <c:pt idx="3">
                  <c:v>4.5291328957231924E-2</c:v>
                </c:pt>
                <c:pt idx="4">
                  <c:v>4.345999150455921E-2</c:v>
                </c:pt>
                <c:pt idx="5">
                  <c:v>4.3428186406853662E-2</c:v>
                </c:pt>
                <c:pt idx="6">
                  <c:v>3.5558705945735569E-2</c:v>
                </c:pt>
                <c:pt idx="7">
                  <c:v>3.1042362243785947E-2</c:v>
                </c:pt>
                <c:pt idx="8">
                  <c:v>2.7920871066470548E-2</c:v>
                </c:pt>
                <c:pt idx="9">
                  <c:v>2.7162261050185554E-2</c:v>
                </c:pt>
                <c:pt idx="10">
                  <c:v>2.2683810116671203E-2</c:v>
                </c:pt>
                <c:pt idx="11">
                  <c:v>2.2599109392061854E-2</c:v>
                </c:pt>
                <c:pt idx="12">
                  <c:v>2.0320925343735068E-2</c:v>
                </c:pt>
                <c:pt idx="13">
                  <c:v>1.9380382827017439E-2</c:v>
                </c:pt>
                <c:pt idx="14">
                  <c:v>1.7277140407953945E-2</c:v>
                </c:pt>
                <c:pt idx="15">
                  <c:v>1.7269601419091375E-2</c:v>
                </c:pt>
                <c:pt idx="16">
                  <c:v>1.7102830823705915E-2</c:v>
                </c:pt>
                <c:pt idx="17">
                  <c:v>1.5296689696083818E-2</c:v>
                </c:pt>
                <c:pt idx="18">
                  <c:v>1.4805156135345823E-2</c:v>
                </c:pt>
                <c:pt idx="19">
                  <c:v>1.4652672212159462E-2</c:v>
                </c:pt>
                <c:pt idx="20">
                  <c:v>1.406178316633642E-2</c:v>
                </c:pt>
                <c:pt idx="21">
                  <c:v>1.3496163224231769E-2</c:v>
                </c:pt>
                <c:pt idx="22">
                  <c:v>1.2450787222343267E-2</c:v>
                </c:pt>
                <c:pt idx="23">
                  <c:v>1.2118309905632762E-2</c:v>
                </c:pt>
                <c:pt idx="24">
                  <c:v>1.2003370643745442E-2</c:v>
                </c:pt>
                <c:pt idx="25">
                  <c:v>1.1980156840995699E-2</c:v>
                </c:pt>
                <c:pt idx="26">
                  <c:v>1.1769712355308354E-2</c:v>
                </c:pt>
                <c:pt idx="27">
                  <c:v>1.0847987543491205E-2</c:v>
                </c:pt>
                <c:pt idx="28">
                  <c:v>1.0552162861004452E-2</c:v>
                </c:pt>
                <c:pt idx="29">
                  <c:v>1.0360050769360182E-2</c:v>
                </c:pt>
                <c:pt idx="30">
                  <c:v>9.8899185894375848E-3</c:v>
                </c:pt>
                <c:pt idx="31">
                  <c:v>9.8746308709132223E-3</c:v>
                </c:pt>
                <c:pt idx="32">
                  <c:v>9.723225520314481E-3</c:v>
                </c:pt>
                <c:pt idx="33">
                  <c:v>9.6000331824610142E-3</c:v>
                </c:pt>
                <c:pt idx="34">
                  <c:v>9.29682314996675E-3</c:v>
                </c:pt>
                <c:pt idx="35">
                  <c:v>9.2549650428826926E-3</c:v>
                </c:pt>
                <c:pt idx="36">
                  <c:v>9.2529058840314093E-3</c:v>
                </c:pt>
                <c:pt idx="37">
                  <c:v>9.2520136655985259E-3</c:v>
                </c:pt>
                <c:pt idx="38">
                  <c:v>7.5594066496302431E-3</c:v>
                </c:pt>
                <c:pt idx="39">
                  <c:v>7.2352055370873223E-3</c:v>
                </c:pt>
                <c:pt idx="40">
                  <c:v>7.032673429537584E-3</c:v>
                </c:pt>
                <c:pt idx="41">
                  <c:v>6.9484546513561953E-3</c:v>
                </c:pt>
                <c:pt idx="42">
                  <c:v>6.8402632391951143E-3</c:v>
                </c:pt>
                <c:pt idx="43">
                  <c:v>6.6517401948756483E-3</c:v>
                </c:pt>
                <c:pt idx="44">
                  <c:v>6.5735375823494351E-3</c:v>
                </c:pt>
                <c:pt idx="45">
                  <c:v>6.4833097732679441E-3</c:v>
                </c:pt>
                <c:pt idx="46">
                  <c:v>6.1160782891833418E-3</c:v>
                </c:pt>
                <c:pt idx="47">
                  <c:v>6.0601531226206753E-3</c:v>
                </c:pt>
                <c:pt idx="48">
                  <c:v>5.562364398290197E-3</c:v>
                </c:pt>
                <c:pt idx="49">
                  <c:v>5.26006111783187E-3</c:v>
                </c:pt>
                <c:pt idx="50">
                  <c:v>5.2187167473699151E-3</c:v>
                </c:pt>
                <c:pt idx="51">
                  <c:v>5.0241126230130551E-3</c:v>
                </c:pt>
                <c:pt idx="52">
                  <c:v>4.808726354956128E-3</c:v>
                </c:pt>
                <c:pt idx="53">
                  <c:v>4.8038861951788065E-3</c:v>
                </c:pt>
                <c:pt idx="54">
                  <c:v>4.7132019099253211E-3</c:v>
                </c:pt>
                <c:pt idx="55">
                  <c:v>4.5922126207776862E-3</c:v>
                </c:pt>
                <c:pt idx="56">
                  <c:v>4.5412598022403798E-3</c:v>
                </c:pt>
                <c:pt idx="57">
                  <c:v>4.1548758295094365E-3</c:v>
                </c:pt>
                <c:pt idx="58">
                  <c:v>4.1104731799656803E-3</c:v>
                </c:pt>
                <c:pt idx="59">
                  <c:v>3.9513687904169205E-3</c:v>
                </c:pt>
                <c:pt idx="60">
                  <c:v>3.784930876342598E-3</c:v>
                </c:pt>
                <c:pt idx="61">
                  <c:v>3.6453783286378109E-3</c:v>
                </c:pt>
                <c:pt idx="62">
                  <c:v>3.4505628347228324E-3</c:v>
                </c:pt>
                <c:pt idx="63">
                  <c:v>3.0805888339081877E-3</c:v>
                </c:pt>
                <c:pt idx="64">
                  <c:v>3.0408001968317286E-3</c:v>
                </c:pt>
                <c:pt idx="65">
                  <c:v>2.9208164750534498E-3</c:v>
                </c:pt>
                <c:pt idx="66">
                  <c:v>2.7883314780490797E-3</c:v>
                </c:pt>
                <c:pt idx="67">
                  <c:v>2.6865052101212659E-3</c:v>
                </c:pt>
                <c:pt idx="68">
                  <c:v>1.8707704110431944E-3</c:v>
                </c:pt>
                <c:pt idx="69">
                  <c:v>1.6533125913672784E-3</c:v>
                </c:pt>
                <c:pt idx="70">
                  <c:v>1.634415818027937E-3</c:v>
                </c:pt>
                <c:pt idx="71">
                  <c:v>1.5036062142032016E-3</c:v>
                </c:pt>
                <c:pt idx="72">
                  <c:v>1.493540625070272E-3</c:v>
                </c:pt>
                <c:pt idx="73">
                  <c:v>1.2945032276814954E-3</c:v>
                </c:pt>
                <c:pt idx="74">
                  <c:v>1.2298061811038777E-3</c:v>
                </c:pt>
                <c:pt idx="75">
                  <c:v>1.1527566049463317E-3</c:v>
                </c:pt>
                <c:pt idx="76">
                  <c:v>1.1226450321129044E-3</c:v>
                </c:pt>
                <c:pt idx="77">
                  <c:v>1.0845485913792145E-3</c:v>
                </c:pt>
                <c:pt idx="78">
                  <c:v>9.1672121526301998E-4</c:v>
                </c:pt>
                <c:pt idx="79">
                  <c:v>7.1700191836627603E-4</c:v>
                </c:pt>
                <c:pt idx="80">
                  <c:v>6.2002919139641371E-4</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Sport Lotion FPS50+ 354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7ECAC4"/>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7ECAC4"/>
              </a:solidFill>
            </c:spPr>
            <c:extLst>
              <c:ext xmlns:c16="http://schemas.microsoft.com/office/drawing/2014/chart" uri="{C3380CC4-5D6E-409C-BE32-E72D297353CC}">
                <c16:uniqueId val="{0000000F-999B-42C0-A7D9-A2057CE05A51}"/>
              </c:ext>
            </c:extLst>
          </c:dPt>
          <c:dPt>
            <c:idx val="8"/>
            <c:invertIfNegative val="1"/>
            <c:bubble3D val="0"/>
            <c:spPr>
              <a:solidFill>
                <a:srgbClr val="7ECAC4"/>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006C6D"/>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spPr>
              <a:solidFill>
                <a:srgbClr val="7ECAC4"/>
              </a:solidFill>
            </c:spPr>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7ECAC4"/>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7ECAC4"/>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7ECAC4"/>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7ECAC4"/>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7ECAC4"/>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7ECAC4"/>
              </a:solidFill>
            </c:spPr>
            <c:extLst>
              <c:ext xmlns:c16="http://schemas.microsoft.com/office/drawing/2014/chart" uri="{C3380CC4-5D6E-409C-BE32-E72D297353CC}">
                <c16:uniqueId val="{0000005D-999B-42C0-A7D9-A2057CE05A51}"/>
              </c:ext>
            </c:extLst>
          </c:dPt>
          <c:dPt>
            <c:idx val="47"/>
            <c:invertIfNegative val="1"/>
            <c:bubble3D val="0"/>
            <c:spPr>
              <a:solidFill>
                <a:srgbClr val="7ECAC4"/>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7ECAC4"/>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7ECAC4"/>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7ECAC4"/>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7ECAC4"/>
              </a:solidFill>
            </c:spPr>
            <c:extLst>
              <c:ext xmlns:c16="http://schemas.microsoft.com/office/drawing/2014/chart" uri="{C3380CC4-5D6E-409C-BE32-E72D297353CC}">
                <c16:uniqueId val="{0000007D-999B-42C0-A7D9-A2057CE05A51}"/>
              </c:ext>
            </c:extLst>
          </c:dPt>
          <c:dPt>
            <c:idx val="63"/>
            <c:invertIfNegative val="1"/>
            <c:bubble3D val="0"/>
            <c:spPr>
              <a:solidFill>
                <a:srgbClr val="7ECAC4"/>
              </a:solidFill>
            </c:spPr>
            <c:extLst>
              <c:ext xmlns:c16="http://schemas.microsoft.com/office/drawing/2014/chart" uri="{C3380CC4-5D6E-409C-BE32-E72D297353CC}">
                <c16:uniqueId val="{0000007F-999B-42C0-A7D9-A2057CE05A51}"/>
              </c:ext>
            </c:extLst>
          </c:dPt>
          <c:dPt>
            <c:idx val="64"/>
            <c:invertIfNegative val="1"/>
            <c:bubble3D val="0"/>
            <c:spPr>
              <a:solidFill>
                <a:srgbClr val="7ECAC4"/>
              </a:solidFill>
            </c:spPr>
            <c:extLst>
              <c:ext xmlns:c16="http://schemas.microsoft.com/office/drawing/2014/chart" uri="{C3380CC4-5D6E-409C-BE32-E72D297353CC}">
                <c16:uniqueId val="{00000081-999B-42C0-A7D9-A2057CE05A51}"/>
              </c:ext>
            </c:extLst>
          </c:dPt>
          <c:dPt>
            <c:idx val="65"/>
            <c:invertIfNegative val="1"/>
            <c:bubble3D val="0"/>
            <c:spPr>
              <a:solidFill>
                <a:srgbClr val="7ECAC4"/>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7ECAC4"/>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7ECAC4"/>
              </a:solidFill>
            </c:spPr>
            <c:extLst>
              <c:ext xmlns:c16="http://schemas.microsoft.com/office/drawing/2014/chart" uri="{C3380CC4-5D6E-409C-BE32-E72D297353CC}">
                <c16:uniqueId val="{0000008D-999B-42C0-A7D9-A2057CE05A51}"/>
              </c:ext>
            </c:extLst>
          </c:dPt>
          <c:dPt>
            <c:idx val="71"/>
            <c:invertIfNegative val="1"/>
            <c:bubble3D val="0"/>
            <c:spPr>
              <a:solidFill>
                <a:srgbClr val="7ECAC4"/>
              </a:solidFill>
            </c:spPr>
            <c:extLst>
              <c:ext xmlns:c16="http://schemas.microsoft.com/office/drawing/2014/chart" uri="{C3380CC4-5D6E-409C-BE32-E72D297353CC}">
                <c16:uniqueId val="{0000008F-999B-42C0-A7D9-A2057CE05A51}"/>
              </c:ext>
            </c:extLst>
          </c:dPt>
          <c:dPt>
            <c:idx val="72"/>
            <c:invertIfNegative val="1"/>
            <c:bubble3D val="0"/>
            <c:spPr>
              <a:solidFill>
                <a:srgbClr val="7ECAC4"/>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7ECAC4"/>
              </a:solidFill>
            </c:spPr>
            <c:extLst>
              <c:ext xmlns:c16="http://schemas.microsoft.com/office/drawing/2014/chart" uri="{C3380CC4-5D6E-409C-BE32-E72D297353CC}">
                <c16:uniqueId val="{00000095-999B-42C0-A7D9-A2057CE05A51}"/>
              </c:ext>
            </c:extLst>
          </c:dPt>
          <c:dPt>
            <c:idx val="75"/>
            <c:invertIfNegative val="1"/>
            <c:bubble3D val="0"/>
            <c:spPr>
              <a:solidFill>
                <a:srgbClr val="7ECAC4"/>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7ECAC4"/>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r>
                      <a:rPr lang="sv-SE" sz="500">
                        <a:solidFill>
                          <a:srgbClr val="006C6D"/>
                        </a:solidFill>
                      </a:rPr>
                      <a:t>Banana Boat Sport Lotion FPS50+ 354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Banana Boat Sport Lotion FPS50+ 354ml</c:v>
                </c:pt>
                <c:pt idx="11">
                  <c:v>Nivea Sun Babies &amp; Kids Lotion FPS50+ 200ml</c:v>
                </c:pt>
                <c:pt idx="12">
                  <c:v>Nivea Sun Protect &amp; Refresh Sport Spray FPS50 200ml</c:v>
                </c:pt>
                <c:pt idx="13">
                  <c:v>Equate Sport Lotion FPS30 237ml</c:v>
                </c:pt>
                <c:pt idx="14">
                  <c:v>Banana Boat Aqua Protect Kids Cream FPS50+ 236ml</c:v>
                </c:pt>
                <c:pt idx="15">
                  <c:v>Equate Ultra Spray FPS50 156g</c:v>
                </c:pt>
                <c:pt idx="16">
                  <c:v>Hawaiian Tropic Sheer Touch Lotion FPS30 240ml</c:v>
                </c:pt>
                <c:pt idx="17">
                  <c:v>Nivea Sun Protect &amp; Refresh Sport Invisible Spray FPS50 200ml</c:v>
                </c:pt>
                <c:pt idx="18">
                  <c:v>Nivea Sun Face Shine Control FPS50+ 50ml</c:v>
                </c:pt>
                <c:pt idx="19">
                  <c:v>Nivea Sun Kids Swim &amp; Play Gel FPS50+ 150ml</c:v>
                </c:pt>
                <c:pt idx="20">
                  <c:v>Neutrogena Sun Fresh Cream FPS50 200ml</c:v>
                </c:pt>
                <c:pt idx="21">
                  <c:v>Hawaiian Tropic Sheer Touch Lotion FPS50 120ml</c:v>
                </c:pt>
                <c:pt idx="22">
                  <c:v>Equate Kids Lotion FPS50 237ml</c:v>
                </c:pt>
                <c:pt idx="23">
                  <c:v>Caribbean Beach Sport Cream FPS50+ 250g</c:v>
                </c:pt>
                <c:pt idx="24">
                  <c:v>Banana Boat Dry Balance Sport Spray FPS50 170ml</c:v>
                </c:pt>
                <c:pt idx="25">
                  <c:v>La Roche Posay Anthelios Uvmune 400 Fluid FPS50+ 50ml</c:v>
                </c:pt>
                <c:pt idx="26">
                  <c:v>Caribbean Beach Ultra Cream FPS50+ 250g</c:v>
                </c:pt>
                <c:pt idx="27">
                  <c:v>Nivea Sun Face Sensitive Skin FPS50 50ml</c:v>
                </c:pt>
                <c:pt idx="28">
                  <c:v>Eucerin Gel-Cream FPS50+ 50ml</c:v>
                </c:pt>
                <c:pt idx="29">
                  <c:v>Neutrogena Sun Fresh Cream FPS50 120ml</c:v>
                </c:pt>
                <c:pt idx="30">
                  <c:v>Caribbean Beach Advanced Protection Cream FPS50+ 150g</c:v>
                </c:pt>
                <c:pt idx="31">
                  <c:v>Nivea Sun Face Stain Control FPS50+ 40ml</c:v>
                </c:pt>
                <c:pt idx="32">
                  <c:v>Nivea Sun Kids Protect &amp; Sensitive Spray FPS50+ 200ml</c:v>
                </c:pt>
                <c:pt idx="33">
                  <c:v>Caribbean Beach Sport Cream FPS50+ 150g</c:v>
                </c:pt>
                <c:pt idx="34">
                  <c:v>Hawaiian Tropic Silk Hydration Lotion FPS50 180ml</c:v>
                </c:pt>
                <c:pt idx="35">
                  <c:v>Garnier Super UV Serum FPS50+ 40ml</c:v>
                </c:pt>
                <c:pt idx="36">
                  <c:v>L'Oréal Paris UV DEFENDER Colored Fluid FPS50+ 40g</c:v>
                </c:pt>
                <c:pt idx="37">
                  <c:v>Hawaiian Tropic Ozono Lotion FPS50+ 120ml</c:v>
                </c:pt>
                <c:pt idx="38">
                  <c:v>Caribbean Beach Kids Cream FPS50+ 250g</c:v>
                </c:pt>
                <c:pt idx="39">
                  <c:v>Isdin Fotoprotector Fusion Water FPS50+ 50ml</c:v>
                </c:pt>
                <c:pt idx="40">
                  <c:v>Garnier Super UV Cream FPS50+ 40g</c:v>
                </c:pt>
                <c:pt idx="41">
                  <c:v>Nivea Sun Face Fluid Invisible FPS50+ 40ml</c:v>
                </c:pt>
                <c:pt idx="42">
                  <c:v>Nuvel Suncare Mineral FPS50 120ml</c:v>
                </c:pt>
                <c:pt idx="43">
                  <c:v>Nuvel Suncare Ultra Protection FPS50 120ml</c:v>
                </c:pt>
                <c:pt idx="44">
                  <c:v>La Roche Posay Anthelios XL Gel-Cream FPS50+ 5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Nuvel Suncare Kids Protection FPS50 120ml</c:v>
                </c:pt>
                <c:pt idx="55">
                  <c:v>Banana Boat Dry Balance Sport Lotion FPS50+ 180ml</c:v>
                </c:pt>
                <c:pt idx="56">
                  <c:v>Isdin Fotoprotector Face and Body Gel-Cream FPS50+ 250ml</c:v>
                </c:pt>
                <c:pt idx="57">
                  <c:v>Caribbean Beach Vitamin E Face Cream FPS50+ 85ml</c:v>
                </c:pt>
                <c:pt idx="58">
                  <c:v>Nuvel Suncare 2 in 1 FPS50 120ml</c:v>
                </c:pt>
                <c:pt idx="59">
                  <c:v>Banana Boat Kids Sport Spray FPS50 170g</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eautycare Antioxidant Face Lotion FPS50+ 50ml</c:v>
                </c:pt>
                <c:pt idx="72">
                  <c:v>Banana Boat Advanced Protection Sport Roll-on FPS50+ 75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2699840188757349E-2</c:v>
                </c:pt>
                <c:pt idx="1">
                  <c:v>5.6449482486490773E-2</c:v>
                </c:pt>
                <c:pt idx="2">
                  <c:v>5.0015302933251952E-2</c:v>
                </c:pt>
                <c:pt idx="3">
                  <c:v>4.4596119706893395E-2</c:v>
                </c:pt>
                <c:pt idx="4">
                  <c:v>4.1999015639187738E-2</c:v>
                </c:pt>
                <c:pt idx="5">
                  <c:v>4.1628090785178186E-2</c:v>
                </c:pt>
                <c:pt idx="6">
                  <c:v>3.3835253014128194E-2</c:v>
                </c:pt>
                <c:pt idx="7">
                  <c:v>3.0087385348096067E-2</c:v>
                </c:pt>
                <c:pt idx="8">
                  <c:v>2.666405130619031E-2</c:v>
                </c:pt>
                <c:pt idx="9">
                  <c:v>2.606905031881112E-2</c:v>
                </c:pt>
                <c:pt idx="10">
                  <c:v>2.4672391272059231E-2</c:v>
                </c:pt>
                <c:pt idx="11">
                  <c:v>2.2296844042762359E-2</c:v>
                </c:pt>
                <c:pt idx="12">
                  <c:v>2.2039134068523144E-2</c:v>
                </c:pt>
                <c:pt idx="13">
                  <c:v>1.9742445040568886E-2</c:v>
                </c:pt>
                <c:pt idx="14">
                  <c:v>1.869115816931867E-2</c:v>
                </c:pt>
                <c:pt idx="15">
                  <c:v>1.7092083437588092E-2</c:v>
                </c:pt>
                <c:pt idx="16">
                  <c:v>1.6804268946845145E-2</c:v>
                </c:pt>
                <c:pt idx="17">
                  <c:v>1.6752611681029636E-2</c:v>
                </c:pt>
                <c:pt idx="18">
                  <c:v>1.5143907954257243E-2</c:v>
                </c:pt>
                <c:pt idx="19">
                  <c:v>1.4665193556296252E-2</c:v>
                </c:pt>
                <c:pt idx="20">
                  <c:v>1.4421374710274076E-2</c:v>
                </c:pt>
                <c:pt idx="21">
                  <c:v>1.3872107707212113E-2</c:v>
                </c:pt>
                <c:pt idx="22">
                  <c:v>1.3201571665816716E-2</c:v>
                </c:pt>
                <c:pt idx="23">
                  <c:v>1.2232441081151166E-2</c:v>
                </c:pt>
                <c:pt idx="24">
                  <c:v>1.1930564198093846E-2</c:v>
                </c:pt>
                <c:pt idx="25">
                  <c:v>1.1884955322745985E-2</c:v>
                </c:pt>
                <c:pt idx="26">
                  <c:v>1.1807961965148326E-2</c:v>
                </c:pt>
                <c:pt idx="27">
                  <c:v>1.1673217256707438E-2</c:v>
                </c:pt>
                <c:pt idx="28">
                  <c:v>1.0789409535668313E-2</c:v>
                </c:pt>
                <c:pt idx="29">
                  <c:v>1.0394219307109313E-2</c:v>
                </c:pt>
                <c:pt idx="30">
                  <c:v>1.022890584517765E-2</c:v>
                </c:pt>
                <c:pt idx="31">
                  <c:v>9.8070457437200199E-3</c:v>
                </c:pt>
                <c:pt idx="32">
                  <c:v>9.7364757727908136E-3</c:v>
                </c:pt>
                <c:pt idx="33">
                  <c:v>9.5824278831468414E-3</c:v>
                </c:pt>
                <c:pt idx="34">
                  <c:v>9.3752501426599688E-3</c:v>
                </c:pt>
                <c:pt idx="35">
                  <c:v>9.2229868185752274E-3</c:v>
                </c:pt>
                <c:pt idx="36">
                  <c:v>9.1666975743319359E-3</c:v>
                </c:pt>
                <c:pt idx="37">
                  <c:v>9.1354037124568351E-3</c:v>
                </c:pt>
                <c:pt idx="38">
                  <c:v>9.0357267831730551E-3</c:v>
                </c:pt>
                <c:pt idx="39">
                  <c:v>7.4668709687271094E-3</c:v>
                </c:pt>
                <c:pt idx="40">
                  <c:v>7.164123805971043E-3</c:v>
                </c:pt>
                <c:pt idx="41">
                  <c:v>6.9385151038018041E-3</c:v>
                </c:pt>
                <c:pt idx="42">
                  <c:v>6.9051485190054687E-3</c:v>
                </c:pt>
                <c:pt idx="43">
                  <c:v>6.8066969102015982E-3</c:v>
                </c:pt>
                <c:pt idx="44">
                  <c:v>6.5779309890314653E-3</c:v>
                </c:pt>
                <c:pt idx="45">
                  <c:v>6.4754819436126689E-3</c:v>
                </c:pt>
                <c:pt idx="46">
                  <c:v>6.3683089639129664E-3</c:v>
                </c:pt>
                <c:pt idx="47">
                  <c:v>6.0417227759624256E-3</c:v>
                </c:pt>
                <c:pt idx="48">
                  <c:v>5.9902186859379335E-3</c:v>
                </c:pt>
                <c:pt idx="49">
                  <c:v>5.4705633792393824E-3</c:v>
                </c:pt>
                <c:pt idx="50">
                  <c:v>5.1505606417565648E-3</c:v>
                </c:pt>
                <c:pt idx="51">
                  <c:v>5.1428860490208891E-3</c:v>
                </c:pt>
                <c:pt idx="52">
                  <c:v>4.9439624331801893E-3</c:v>
                </c:pt>
                <c:pt idx="53">
                  <c:v>4.7404411206832956E-3</c:v>
                </c:pt>
                <c:pt idx="54">
                  <c:v>4.6327332114576578E-3</c:v>
                </c:pt>
                <c:pt idx="55">
                  <c:v>4.6234914930041509E-3</c:v>
                </c:pt>
                <c:pt idx="56">
                  <c:v>4.5431126025869588E-3</c:v>
                </c:pt>
                <c:pt idx="57">
                  <c:v>4.4574715687854633E-3</c:v>
                </c:pt>
                <c:pt idx="58">
                  <c:v>4.0489502088581798E-3</c:v>
                </c:pt>
                <c:pt idx="59">
                  <c:v>4.0419983585179694E-3</c:v>
                </c:pt>
                <c:pt idx="60">
                  <c:v>3.8658957594636272E-3</c:v>
                </c:pt>
                <c:pt idx="61">
                  <c:v>3.7567022205986689E-3</c:v>
                </c:pt>
                <c:pt idx="62">
                  <c:v>3.5885639883517046E-3</c:v>
                </c:pt>
                <c:pt idx="63">
                  <c:v>3.3707933959303523E-3</c:v>
                </c:pt>
                <c:pt idx="64">
                  <c:v>3.0100891516625667E-3</c:v>
                </c:pt>
                <c:pt idx="65">
                  <c:v>2.9899635550796858E-3</c:v>
                </c:pt>
                <c:pt idx="66">
                  <c:v>2.7640674475776675E-3</c:v>
                </c:pt>
                <c:pt idx="67">
                  <c:v>2.6720479592200917E-3</c:v>
                </c:pt>
                <c:pt idx="68">
                  <c:v>1.853669437480178E-3</c:v>
                </c:pt>
                <c:pt idx="69">
                  <c:v>1.6406805325878157E-3</c:v>
                </c:pt>
                <c:pt idx="70">
                  <c:v>1.5940662231565294E-3</c:v>
                </c:pt>
                <c:pt idx="71">
                  <c:v>1.4680051711270167E-3</c:v>
                </c:pt>
                <c:pt idx="72">
                  <c:v>1.4572821830595856E-3</c:v>
                </c:pt>
                <c:pt idx="73">
                  <c:v>1.2737411125426708E-3</c:v>
                </c:pt>
                <c:pt idx="74">
                  <c:v>1.1753951796479023E-3</c:v>
                </c:pt>
                <c:pt idx="75">
                  <c:v>1.1323023952721036E-3</c:v>
                </c:pt>
                <c:pt idx="76">
                  <c:v>1.1141134461820055E-3</c:v>
                </c:pt>
                <c:pt idx="77">
                  <c:v>1.0777552264477964E-3</c:v>
                </c:pt>
                <c:pt idx="78">
                  <c:v>9.09157839276318E-4</c:v>
                </c:pt>
                <c:pt idx="79">
                  <c:v>7.0269541825970165E-4</c:v>
                </c:pt>
                <c:pt idx="80">
                  <c:v>6.0944970162734344E-4</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40ml @360</c:v>
                </c:pt>
                <c:pt idx="1">
                  <c:v>Banana Boat Dry Balance Sport Stick FPS50+ 40g @290</c:v>
                </c:pt>
                <c:pt idx="2">
                  <c:v>Banana Boat Dry Balance Sport Aerosol FPS50+ 200ml @365</c:v>
                </c:pt>
                <c:pt idx="3">
                  <c:v>Banana Boat Sport Lotion FPS50+ 354ml @370</c:v>
                </c:pt>
              </c:strCache>
            </c:strRef>
          </c:cat>
          <c:val>
            <c:numRef>
              <c:f>Sheet1!$B$2:$B$5</c:f>
              <c:numCache>
                <c:formatCode>General</c:formatCode>
                <c:ptCount val="4"/>
                <c:pt idx="0">
                  <c:v>102.33603190658323</c:v>
                </c:pt>
                <c:pt idx="1">
                  <c:v>105.65624787138677</c:v>
                </c:pt>
                <c:pt idx="2">
                  <c:v>101.4556140684069</c:v>
                </c:pt>
                <c:pt idx="3">
                  <c:v>106.43449666723291</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40ml @360</c:v>
                </c:pt>
                <c:pt idx="1">
                  <c:v>Banana Boat Dry Balance Sport Stick FPS50+ 40g @290</c:v>
                </c:pt>
                <c:pt idx="2">
                  <c:v>Banana Boat Dry Balance Sport Aerosol FPS50+ 200ml @365</c:v>
                </c:pt>
                <c:pt idx="3">
                  <c:v>Banana Boat Sport Lotion FPS50+ 354ml @370</c:v>
                </c:pt>
              </c:strCache>
            </c:strRef>
          </c:cat>
          <c:val>
            <c:numRef>
              <c:f>Sheet1!$C$2:$C$5</c:f>
              <c:numCache>
                <c:formatCode>General</c:formatCode>
                <c:ptCount val="4"/>
                <c:pt idx="0">
                  <c:v>102.6992158453333</c:v>
                </c:pt>
                <c:pt idx="1">
                  <c:v>105.95653872499588</c:v>
                </c:pt>
                <c:pt idx="2">
                  <c:v>101.76781612499404</c:v>
                </c:pt>
                <c:pt idx="3">
                  <c:v>107.4638590844593</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40ml @360</c:v>
                </c:pt>
                <c:pt idx="1">
                  <c:v>Banana Boat Dry Balance Sport Stick FPS50+ 40g @290</c:v>
                </c:pt>
                <c:pt idx="2">
                  <c:v>Banana Boat Dry Balance Sport Aerosol FPS50+ 200ml @365</c:v>
                </c:pt>
                <c:pt idx="3">
                  <c:v>Banana Boat Sport Lotion FPS50+ 354ml @370</c:v>
                </c:pt>
              </c:strCache>
            </c:strRef>
          </c:cat>
          <c:val>
            <c:numRef>
              <c:f>Sheet1!$D$2:$D$5</c:f>
              <c:numCache>
                <c:formatCode>General</c:formatCode>
                <c:ptCount val="4"/>
                <c:pt idx="0">
                  <c:v>102.79260473818215</c:v>
                </c:pt>
                <c:pt idx="1">
                  <c:v>105.45822260665823</c:v>
                </c:pt>
                <c:pt idx="2">
                  <c:v>101.93220378382645</c:v>
                </c:pt>
                <c:pt idx="3">
                  <c:v>105.1561031643563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Banana Boat Aqua Protect Sport Spray FPS50+ 2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6.8591294642131817E-2</c:v>
                </c:pt>
                <c:pt idx="1">
                  <c:v>7.0948204464332768E-2</c:v>
                </c:pt>
                <c:pt idx="2">
                  <c:v>4.4673356116726348E-2</c:v>
                </c:pt>
                <c:pt idx="3">
                  <c:v>4.9771649130334154E-2</c:v>
                </c:pt>
                <c:pt idx="4">
                  <c:v>3.9535441779668279E-2</c:v>
                </c:pt>
                <c:pt idx="5">
                  <c:v>3.925425931364853E-2</c:v>
                </c:pt>
                <c:pt idx="6">
                  <c:v>3.6160822818048381E-2</c:v>
                </c:pt>
                <c:pt idx="7">
                  <c:v>4.0711294187871588E-2</c:v>
                </c:pt>
                <c:pt idx="8">
                  <c:v>3.4486739218764058E-2</c:v>
                </c:pt>
                <c:pt idx="9">
                  <c:v>3.0630709044204087E-2</c:v>
                </c:pt>
                <c:pt idx="10">
                  <c:v>2.6181229311439021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Banana Boat Dry Balance Sport Stick FPS50+ 4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7.3907542239911167E-2</c:v>
                </c:pt>
                <c:pt idx="1">
                  <c:v>4.9684877895553779E-2</c:v>
                </c:pt>
                <c:pt idx="2">
                  <c:v>3.3078013780438953E-2</c:v>
                </c:pt>
                <c:pt idx="3">
                  <c:v>3.5877906130648146E-2</c:v>
                </c:pt>
                <c:pt idx="4">
                  <c:v>2.4592708988257241E-2</c:v>
                </c:pt>
                <c:pt idx="5">
                  <c:v>2.6836925457093576E-2</c:v>
                </c:pt>
                <c:pt idx="6">
                  <c:v>2.3443045285191616E-2</c:v>
                </c:pt>
                <c:pt idx="7">
                  <c:v>1.8139482356950423E-2</c:v>
                </c:pt>
                <c:pt idx="8">
                  <c:v>3.8061879569496672E-2</c:v>
                </c:pt>
                <c:pt idx="9">
                  <c:v>3.5467971083880376E-2</c:v>
                </c:pt>
                <c:pt idx="10">
                  <c:v>2.9485826589802887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Baby Lotion FPS50+ 177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006C6D"/>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r>
                      <a:rPr lang="en-US" sz="500">
                        <a:solidFill>
                          <a:srgbClr val="006C6D"/>
                        </a:solidFill>
                      </a:rPr>
                      <a:t>Banana Boat Baby Lotion FPS50+ 177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anana Boat Baby Lotion FPS50+ 177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6085508411757E-2</c:v>
                </c:pt>
                <c:pt idx="1">
                  <c:v>5.7639969067943331E-2</c:v>
                </c:pt>
                <c:pt idx="2">
                  <c:v>5.1000615378498156E-2</c:v>
                </c:pt>
                <c:pt idx="3">
                  <c:v>4.5273326131780874E-2</c:v>
                </c:pt>
                <c:pt idx="4">
                  <c:v>4.3494692772345606E-2</c:v>
                </c:pt>
                <c:pt idx="5">
                  <c:v>4.3474715605351356E-2</c:v>
                </c:pt>
                <c:pt idx="6">
                  <c:v>3.5578174495767993E-2</c:v>
                </c:pt>
                <c:pt idx="7">
                  <c:v>3.1059094893957202E-2</c:v>
                </c:pt>
                <c:pt idx="8">
                  <c:v>2.7905250970895003E-2</c:v>
                </c:pt>
                <c:pt idx="9">
                  <c:v>2.7153428110153546E-2</c:v>
                </c:pt>
                <c:pt idx="10">
                  <c:v>2.267849212444642E-2</c:v>
                </c:pt>
                <c:pt idx="11">
                  <c:v>2.2613414559176408E-2</c:v>
                </c:pt>
                <c:pt idx="12">
                  <c:v>2.0316114545521614E-2</c:v>
                </c:pt>
                <c:pt idx="13">
                  <c:v>1.9373847542933736E-2</c:v>
                </c:pt>
                <c:pt idx="14">
                  <c:v>1.7286940176302758E-2</c:v>
                </c:pt>
                <c:pt idx="15">
                  <c:v>1.7271736120733888E-2</c:v>
                </c:pt>
                <c:pt idx="16">
                  <c:v>1.7116743234729854E-2</c:v>
                </c:pt>
                <c:pt idx="17">
                  <c:v>1.529835851736492E-2</c:v>
                </c:pt>
                <c:pt idx="18">
                  <c:v>1.4801521425163269E-2</c:v>
                </c:pt>
                <c:pt idx="19">
                  <c:v>1.4650360922698861E-2</c:v>
                </c:pt>
                <c:pt idx="20">
                  <c:v>1.4066913487108954E-2</c:v>
                </c:pt>
                <c:pt idx="21">
                  <c:v>1.3493209208865172E-2</c:v>
                </c:pt>
                <c:pt idx="22">
                  <c:v>1.2439889521435639E-2</c:v>
                </c:pt>
                <c:pt idx="23">
                  <c:v>1.2185881715365585E-2</c:v>
                </c:pt>
                <c:pt idx="24">
                  <c:v>1.20086565676055E-2</c:v>
                </c:pt>
                <c:pt idx="25">
                  <c:v>1.197785645337366E-2</c:v>
                </c:pt>
                <c:pt idx="26">
                  <c:v>1.1767431579766674E-2</c:v>
                </c:pt>
                <c:pt idx="27">
                  <c:v>1.0842487591841796E-2</c:v>
                </c:pt>
                <c:pt idx="28">
                  <c:v>1.0552572782383229E-2</c:v>
                </c:pt>
                <c:pt idx="29">
                  <c:v>1.0355578213006558E-2</c:v>
                </c:pt>
                <c:pt idx="30">
                  <c:v>9.8888772145514173E-3</c:v>
                </c:pt>
                <c:pt idx="31">
                  <c:v>9.8884770369772629E-3</c:v>
                </c:pt>
                <c:pt idx="32">
                  <c:v>9.7175694764535924E-3</c:v>
                </c:pt>
                <c:pt idx="33">
                  <c:v>9.6113651291865158E-3</c:v>
                </c:pt>
                <c:pt idx="34">
                  <c:v>9.2906510619868501E-3</c:v>
                </c:pt>
                <c:pt idx="35">
                  <c:v>9.2558670736528088E-3</c:v>
                </c:pt>
                <c:pt idx="36">
                  <c:v>9.249862896442855E-3</c:v>
                </c:pt>
                <c:pt idx="37">
                  <c:v>9.2388514565466973E-3</c:v>
                </c:pt>
                <c:pt idx="38">
                  <c:v>7.5606504333246205E-3</c:v>
                </c:pt>
                <c:pt idx="39">
                  <c:v>7.2335934544978673E-3</c:v>
                </c:pt>
                <c:pt idx="40">
                  <c:v>7.0297594628033764E-3</c:v>
                </c:pt>
                <c:pt idx="41">
                  <c:v>6.9387381523340523E-3</c:v>
                </c:pt>
                <c:pt idx="42">
                  <c:v>6.8338375734844185E-3</c:v>
                </c:pt>
                <c:pt idx="43">
                  <c:v>6.6484901727433413E-3</c:v>
                </c:pt>
                <c:pt idx="44">
                  <c:v>6.5712075329445382E-3</c:v>
                </c:pt>
                <c:pt idx="45">
                  <c:v>6.5006767404010464E-3</c:v>
                </c:pt>
                <c:pt idx="46">
                  <c:v>6.1233730804125235E-3</c:v>
                </c:pt>
                <c:pt idx="47">
                  <c:v>6.0582840563313881E-3</c:v>
                </c:pt>
                <c:pt idx="48">
                  <c:v>5.5606246701893763E-3</c:v>
                </c:pt>
                <c:pt idx="49">
                  <c:v>5.2723569803142262E-3</c:v>
                </c:pt>
                <c:pt idx="50">
                  <c:v>5.2251064863858294E-3</c:v>
                </c:pt>
                <c:pt idx="51">
                  <c:v>5.0341355221294824E-3</c:v>
                </c:pt>
                <c:pt idx="52">
                  <c:v>4.8260283382483143E-3</c:v>
                </c:pt>
                <c:pt idx="53">
                  <c:v>4.7982084022553263E-3</c:v>
                </c:pt>
                <c:pt idx="54">
                  <c:v>4.7131123189171073E-3</c:v>
                </c:pt>
                <c:pt idx="55">
                  <c:v>4.6034705732240985E-3</c:v>
                </c:pt>
                <c:pt idx="56">
                  <c:v>4.5390921291719091E-3</c:v>
                </c:pt>
                <c:pt idx="57">
                  <c:v>4.1496263956248489E-3</c:v>
                </c:pt>
                <c:pt idx="58">
                  <c:v>4.1026771836553729E-3</c:v>
                </c:pt>
                <c:pt idx="59">
                  <c:v>3.9497550759359113E-3</c:v>
                </c:pt>
                <c:pt idx="60">
                  <c:v>3.7831682259621409E-3</c:v>
                </c:pt>
                <c:pt idx="61">
                  <c:v>3.6449937861817321E-3</c:v>
                </c:pt>
                <c:pt idx="62">
                  <c:v>3.4535675118202154E-3</c:v>
                </c:pt>
                <c:pt idx="63">
                  <c:v>3.0838852668787346E-3</c:v>
                </c:pt>
                <c:pt idx="64">
                  <c:v>3.0472938690694015E-3</c:v>
                </c:pt>
                <c:pt idx="65">
                  <c:v>2.7887299606089394E-3</c:v>
                </c:pt>
                <c:pt idx="66">
                  <c:v>2.6906951686712318E-3</c:v>
                </c:pt>
                <c:pt idx="67">
                  <c:v>2.6519066663750522E-3</c:v>
                </c:pt>
                <c:pt idx="68">
                  <c:v>1.869818685526901E-3</c:v>
                </c:pt>
                <c:pt idx="69">
                  <c:v>1.6551979711727858E-3</c:v>
                </c:pt>
                <c:pt idx="70">
                  <c:v>1.6346886202683304E-3</c:v>
                </c:pt>
                <c:pt idx="71">
                  <c:v>1.5039918137161987E-3</c:v>
                </c:pt>
                <c:pt idx="72">
                  <c:v>1.4973258660141917E-3</c:v>
                </c:pt>
                <c:pt idx="73">
                  <c:v>1.2948713158232681E-3</c:v>
                </c:pt>
                <c:pt idx="74">
                  <c:v>1.2308330493843503E-3</c:v>
                </c:pt>
                <c:pt idx="75">
                  <c:v>1.1542982328136822E-3</c:v>
                </c:pt>
                <c:pt idx="76">
                  <c:v>1.1232326621813254E-3</c:v>
                </c:pt>
                <c:pt idx="77">
                  <c:v>1.0848396897445033E-3</c:v>
                </c:pt>
                <c:pt idx="78">
                  <c:v>9.2000363016150888E-4</c:v>
                </c:pt>
                <c:pt idx="79">
                  <c:v>7.1609062345188588E-4</c:v>
                </c:pt>
                <c:pt idx="80">
                  <c:v>6.1811250241167843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anana Boat Dry Balance Sport Aerosol FPS50+ 2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7.2252266642880814E-2</c:v>
                </c:pt>
                <c:pt idx="1">
                  <c:v>6.958423171826103E-2</c:v>
                </c:pt>
                <c:pt idx="2">
                  <c:v>5.0680313151606579E-2</c:v>
                </c:pt>
                <c:pt idx="3">
                  <c:v>5.5542879172065081E-2</c:v>
                </c:pt>
                <c:pt idx="4">
                  <c:v>4.1484154000128899E-2</c:v>
                </c:pt>
                <c:pt idx="5">
                  <c:v>3.5251917013679475E-2</c:v>
                </c:pt>
                <c:pt idx="6">
                  <c:v>3.3363139641382489E-2</c:v>
                </c:pt>
                <c:pt idx="7">
                  <c:v>2.6358060175070988E-2</c:v>
                </c:pt>
                <c:pt idx="8">
                  <c:v>3.9860266823283717E-2</c:v>
                </c:pt>
                <c:pt idx="9">
                  <c:v>2.7744818697446754E-2</c:v>
                </c:pt>
                <c:pt idx="10">
                  <c:v>2.5846621883426828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anana Boat Sport Lotion FPS50+ 354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5.5169296848915528E-2</c:v>
                </c:pt>
                <c:pt idx="1">
                  <c:v>7.8531833528836512E-2</c:v>
                </c:pt>
                <c:pt idx="2">
                  <c:v>6.5214747174008339E-2</c:v>
                </c:pt>
                <c:pt idx="3">
                  <c:v>4.528168510008819E-2</c:v>
                </c:pt>
                <c:pt idx="4">
                  <c:v>7.7870977358748455E-2</c:v>
                </c:pt>
                <c:pt idx="5">
                  <c:v>7.4026765037019812E-2</c:v>
                </c:pt>
                <c:pt idx="6">
                  <c:v>4.3680155912350777E-2</c:v>
                </c:pt>
                <c:pt idx="7">
                  <c:v>4.742944349741432E-2</c:v>
                </c:pt>
                <c:pt idx="8">
                  <c:v>1.232836445492227E-2</c:v>
                </c:pt>
                <c:pt idx="9">
                  <c:v>2.5980977685511678E-2</c:v>
                </c:pt>
                <c:pt idx="10">
                  <c:v>3.123744597196455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B$2:$B$2</c:f>
              <c:numCache>
                <c:formatCode>General</c:formatCode>
                <c:ptCount val="1"/>
                <c:pt idx="0">
                  <c:v>101.5572277626018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C$2:$C$2</c:f>
              <c:numCache>
                <c:formatCode>General</c:formatCode>
                <c:ptCount val="1"/>
                <c:pt idx="0">
                  <c:v>101.4956430349268</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D$2:$D$2</c:f>
              <c:numCache>
                <c:formatCode>General</c:formatCode>
                <c:ptCount val="1"/>
                <c:pt idx="0">
                  <c:v>101.4924707899547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Baby Lotion FPS50+ 177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Banana Boat Aqua Protect Sport Lotion FPS50+ 236ml</c:v>
                </c:pt>
                <c:pt idx="3">
                  <c:v>Hawaiian Tropic Ozono Lotion FPS50+ 240ml</c:v>
                </c:pt>
                <c:pt idx="4">
                  <c:v>Nivea Sun Protection &amp; Hydration Lotion FPS50+ 125ml</c:v>
                </c:pt>
                <c:pt idx="5">
                  <c:v>Nivea Sun Protection Sensitive Skin Gel FPS50+ 200ml</c:v>
                </c:pt>
                <c:pt idx="6">
                  <c:v>Banana Boat Aqua Protect Cream FPS50+ 236ml</c:v>
                </c:pt>
                <c:pt idx="7">
                  <c:v>Hawaiian Tropic Island Sport Lotion FPS50 240ml</c:v>
                </c:pt>
                <c:pt idx="8">
                  <c:v>Hawaiian Tropic Sheer Touch Lotion FPS50+ 240ml</c:v>
                </c:pt>
                <c:pt idx="9">
                  <c:v>Banana Boat Aqua Protect Kids Cream FPS50+ 236ml</c:v>
                </c:pt>
                <c:pt idx="10">
                  <c:v>Banana Boat Advanced Protection Lotion FPS50+ 240ml</c:v>
                </c:pt>
              </c:strCache>
            </c:strRef>
          </c:cat>
          <c:val>
            <c:numRef>
              <c:f>Sheet1!$B$2:$B$12</c:f>
              <c:numCache>
                <c:formatCode>General</c:formatCode>
                <c:ptCount val="11"/>
                <c:pt idx="0">
                  <c:v>6.657595872964385E-2</c:v>
                </c:pt>
                <c:pt idx="1">
                  <c:v>6.4358183782374984E-2</c:v>
                </c:pt>
                <c:pt idx="2">
                  <c:v>5.4865394861463739E-2</c:v>
                </c:pt>
                <c:pt idx="3">
                  <c:v>4.2734017476789177E-2</c:v>
                </c:pt>
                <c:pt idx="4">
                  <c:v>3.5256167065805047E-2</c:v>
                </c:pt>
                <c:pt idx="5">
                  <c:v>3.48358610878809E-2</c:v>
                </c:pt>
                <c:pt idx="6">
                  <c:v>3.2361620237228828E-2</c:v>
                </c:pt>
                <c:pt idx="7">
                  <c:v>3.1485206857781389E-2</c:v>
                </c:pt>
                <c:pt idx="8">
                  <c:v>2.814518433318839E-2</c:v>
                </c:pt>
                <c:pt idx="9">
                  <c:v>2.6551432339693086E-2</c:v>
                </c:pt>
                <c:pt idx="10">
                  <c:v>2.5929504553455416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tick FPS50 2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spPr>
              <a:solidFill>
                <a:srgbClr val="7ECAC4"/>
              </a:solidFill>
            </c:spPr>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7ECAC4"/>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7ECAC4"/>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7ECAC4"/>
              </a:solidFill>
            </c:spPr>
            <c:extLst>
              <c:ext xmlns:c16="http://schemas.microsoft.com/office/drawing/2014/chart" uri="{C3380CC4-5D6E-409C-BE32-E72D297353CC}">
                <c16:uniqueId val="{00000087-77EF-42ED-BAFF-03BF265C16B5}"/>
              </c:ext>
            </c:extLst>
          </c:dPt>
          <c:dPt>
            <c:idx val="68"/>
            <c:invertIfNegative val="1"/>
            <c:bubble3D val="0"/>
            <c:spPr>
              <a:solidFill>
                <a:srgbClr val="006C6D"/>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r>
                      <a:rPr lang="en-US" sz="500">
                        <a:solidFill>
                          <a:srgbClr val="006C6D"/>
                        </a:solidFill>
                      </a:rPr>
                      <a:t>Beautycare Glow Stick FPS50 2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Beautycare Glow Stick FPS50 20g</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547720838469254E-2</c:v>
                </c:pt>
                <c:pt idx="1">
                  <c:v>5.7722248615717994E-2</c:v>
                </c:pt>
                <c:pt idx="2">
                  <c:v>5.1040641503840009E-2</c:v>
                </c:pt>
                <c:pt idx="3">
                  <c:v>4.5317492973395941E-2</c:v>
                </c:pt>
                <c:pt idx="4">
                  <c:v>4.3537173339973034E-2</c:v>
                </c:pt>
                <c:pt idx="5">
                  <c:v>4.3503768517221715E-2</c:v>
                </c:pt>
                <c:pt idx="6">
                  <c:v>3.5621200605687325E-2</c:v>
                </c:pt>
                <c:pt idx="7">
                  <c:v>3.1167240088152894E-2</c:v>
                </c:pt>
                <c:pt idx="8">
                  <c:v>2.7957458005984148E-2</c:v>
                </c:pt>
                <c:pt idx="9">
                  <c:v>2.7210122288597025E-2</c:v>
                </c:pt>
                <c:pt idx="10">
                  <c:v>2.2688928809820614E-2</c:v>
                </c:pt>
                <c:pt idx="11">
                  <c:v>2.2630227122231353E-2</c:v>
                </c:pt>
                <c:pt idx="12">
                  <c:v>2.0343944746245065E-2</c:v>
                </c:pt>
                <c:pt idx="13">
                  <c:v>1.942204722691044E-2</c:v>
                </c:pt>
                <c:pt idx="14">
                  <c:v>1.7306355724314076E-2</c:v>
                </c:pt>
                <c:pt idx="15">
                  <c:v>1.7286594182965298E-2</c:v>
                </c:pt>
                <c:pt idx="16">
                  <c:v>1.7136797809085769E-2</c:v>
                </c:pt>
                <c:pt idx="17">
                  <c:v>1.529475671222473E-2</c:v>
                </c:pt>
                <c:pt idx="18">
                  <c:v>1.4817867984851463E-2</c:v>
                </c:pt>
                <c:pt idx="19">
                  <c:v>1.4634506003251981E-2</c:v>
                </c:pt>
                <c:pt idx="20">
                  <c:v>1.4076297047913383E-2</c:v>
                </c:pt>
                <c:pt idx="21">
                  <c:v>1.3508464726890785E-2</c:v>
                </c:pt>
                <c:pt idx="22">
                  <c:v>1.245832240581279E-2</c:v>
                </c:pt>
                <c:pt idx="23">
                  <c:v>1.2202624555518913E-2</c:v>
                </c:pt>
                <c:pt idx="24">
                  <c:v>1.2014479649420887E-2</c:v>
                </c:pt>
                <c:pt idx="25">
                  <c:v>1.1984732041639632E-2</c:v>
                </c:pt>
                <c:pt idx="26">
                  <c:v>1.1767794166016114E-2</c:v>
                </c:pt>
                <c:pt idx="27">
                  <c:v>1.0831904289996726E-2</c:v>
                </c:pt>
                <c:pt idx="28">
                  <c:v>1.0540014882484053E-2</c:v>
                </c:pt>
                <c:pt idx="29">
                  <c:v>1.0362211448925723E-2</c:v>
                </c:pt>
                <c:pt idx="30">
                  <c:v>9.8893126889818394E-3</c:v>
                </c:pt>
                <c:pt idx="31">
                  <c:v>9.8828510933091935E-3</c:v>
                </c:pt>
                <c:pt idx="32">
                  <c:v>9.7265993158374229E-3</c:v>
                </c:pt>
                <c:pt idx="33">
                  <c:v>9.6069796942065758E-3</c:v>
                </c:pt>
                <c:pt idx="34">
                  <c:v>9.2864425918512926E-3</c:v>
                </c:pt>
                <c:pt idx="35">
                  <c:v>9.26047676066254E-3</c:v>
                </c:pt>
                <c:pt idx="36">
                  <c:v>9.2594439250262717E-3</c:v>
                </c:pt>
                <c:pt idx="37">
                  <c:v>9.2403642651793134E-3</c:v>
                </c:pt>
                <c:pt idx="38">
                  <c:v>7.5571161012326742E-3</c:v>
                </c:pt>
                <c:pt idx="39">
                  <c:v>7.2255745381884159E-3</c:v>
                </c:pt>
                <c:pt idx="40">
                  <c:v>7.0277151062414882E-3</c:v>
                </c:pt>
                <c:pt idx="41">
                  <c:v>6.9428146970175342E-3</c:v>
                </c:pt>
                <c:pt idx="42">
                  <c:v>6.8450493045978259E-3</c:v>
                </c:pt>
                <c:pt idx="43">
                  <c:v>6.645479751196416E-3</c:v>
                </c:pt>
                <c:pt idx="44">
                  <c:v>6.5772288977505042E-3</c:v>
                </c:pt>
                <c:pt idx="45">
                  <c:v>6.5123233744375734E-3</c:v>
                </c:pt>
                <c:pt idx="46">
                  <c:v>6.1415730213078869E-3</c:v>
                </c:pt>
                <c:pt idx="47">
                  <c:v>6.0505403741790602E-3</c:v>
                </c:pt>
                <c:pt idx="48">
                  <c:v>5.5632649878121429E-3</c:v>
                </c:pt>
                <c:pt idx="49">
                  <c:v>5.2740652142101545E-3</c:v>
                </c:pt>
                <c:pt idx="50">
                  <c:v>5.2217767627743515E-3</c:v>
                </c:pt>
                <c:pt idx="51">
                  <c:v>5.0368795061306697E-3</c:v>
                </c:pt>
                <c:pt idx="52">
                  <c:v>4.8340840518613674E-3</c:v>
                </c:pt>
                <c:pt idx="53">
                  <c:v>4.8118046411312811E-3</c:v>
                </c:pt>
                <c:pt idx="54">
                  <c:v>4.7144834855187183E-3</c:v>
                </c:pt>
                <c:pt idx="55">
                  <c:v>4.5856999129928553E-3</c:v>
                </c:pt>
                <c:pt idx="56">
                  <c:v>4.5409325665227776E-3</c:v>
                </c:pt>
                <c:pt idx="57">
                  <c:v>4.1657480256516643E-3</c:v>
                </c:pt>
                <c:pt idx="58">
                  <c:v>4.1101719541272053E-3</c:v>
                </c:pt>
                <c:pt idx="59">
                  <c:v>3.9511567415674792E-3</c:v>
                </c:pt>
                <c:pt idx="60">
                  <c:v>3.7905338102417387E-3</c:v>
                </c:pt>
                <c:pt idx="61">
                  <c:v>3.6510582855175276E-3</c:v>
                </c:pt>
                <c:pt idx="62">
                  <c:v>3.4540603449409015E-3</c:v>
                </c:pt>
                <c:pt idx="63">
                  <c:v>3.090240578689658E-3</c:v>
                </c:pt>
                <c:pt idx="64">
                  <c:v>3.0545605825607288E-3</c:v>
                </c:pt>
                <c:pt idx="65">
                  <c:v>2.79017606208449E-3</c:v>
                </c:pt>
                <c:pt idx="66">
                  <c:v>2.6848125460827493E-3</c:v>
                </c:pt>
                <c:pt idx="67">
                  <c:v>1.8631167930163207E-3</c:v>
                </c:pt>
                <c:pt idx="68">
                  <c:v>1.7865800875041312E-3</c:v>
                </c:pt>
                <c:pt idx="69">
                  <c:v>1.6483094070555981E-3</c:v>
                </c:pt>
                <c:pt idx="70">
                  <c:v>1.6351143403608558E-3</c:v>
                </c:pt>
                <c:pt idx="71">
                  <c:v>1.5040255440291969E-3</c:v>
                </c:pt>
                <c:pt idx="72">
                  <c:v>1.488480438473432E-3</c:v>
                </c:pt>
                <c:pt idx="73">
                  <c:v>1.2929960667779907E-3</c:v>
                </c:pt>
                <c:pt idx="74">
                  <c:v>1.232210439562923E-3</c:v>
                </c:pt>
                <c:pt idx="75">
                  <c:v>1.1546253080318423E-3</c:v>
                </c:pt>
                <c:pt idx="76">
                  <c:v>1.1202189029113623E-3</c:v>
                </c:pt>
                <c:pt idx="77">
                  <c:v>1.083581698695554E-3</c:v>
                </c:pt>
                <c:pt idx="78">
                  <c:v>9.1965122206732921E-4</c:v>
                </c:pt>
                <c:pt idx="79">
                  <c:v>7.1579484537498265E-4</c:v>
                </c:pt>
                <c:pt idx="80">
                  <c:v>6.179610309568716E-4</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erum FPS50 3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7ECAC4"/>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7ECAC4"/>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7ECAC4"/>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006C6D"/>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r>
                      <a:rPr lang="en-US" sz="500">
                        <a:solidFill>
                          <a:srgbClr val="006C6D"/>
                        </a:solidFill>
                      </a:rPr>
                      <a:t>Beautycare Glow Serum FPS50 3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Neutrogena Mineral Ultra Sheer Stick FPS50 42g</c:v>
                </c:pt>
                <c:pt idx="69">
                  <c:v>Banana Boat Advanced Protection Face Fluid FPS50+ 50ml</c:v>
                </c:pt>
                <c:pt idx="70">
                  <c:v>Banana Boat Advanced Protection Sport Roll-on FPS50+ 75ml</c:v>
                </c:pt>
                <c:pt idx="71">
                  <c:v>Beautycare Antioxidant Face Lotion FPS50+ 50ml</c:v>
                </c:pt>
                <c:pt idx="72">
                  <c:v>Vaseline Sunscreen Stick FPS50+ 15g</c:v>
                </c:pt>
                <c:pt idx="73">
                  <c:v>Banana Boat Kids Sport Roll-on FPS50+ 75ml</c:v>
                </c:pt>
                <c:pt idx="74">
                  <c:v>Hawaiian Tropic Mineral Brush FPS30 4.25g</c:v>
                </c:pt>
                <c:pt idx="75">
                  <c:v>Vaseline Tone-up Cream FPS50+ 50ml</c:v>
                </c:pt>
                <c:pt idx="76">
                  <c:v>Vaseline Daily Use FPS50+ 50ml</c:v>
                </c:pt>
                <c:pt idx="77">
                  <c:v>Beautycare Glow Serum FPS50 3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577280953400678E-2</c:v>
                </c:pt>
                <c:pt idx="1">
                  <c:v>5.7750922991732255E-2</c:v>
                </c:pt>
                <c:pt idx="2">
                  <c:v>5.1048184970829517E-2</c:v>
                </c:pt>
                <c:pt idx="3">
                  <c:v>4.5330386283289788E-2</c:v>
                </c:pt>
                <c:pt idx="4">
                  <c:v>4.357126735301551E-2</c:v>
                </c:pt>
                <c:pt idx="5">
                  <c:v>4.3521534928725632E-2</c:v>
                </c:pt>
                <c:pt idx="6">
                  <c:v>3.563672216384102E-2</c:v>
                </c:pt>
                <c:pt idx="7">
                  <c:v>3.1187708053411929E-2</c:v>
                </c:pt>
                <c:pt idx="8">
                  <c:v>2.7965905125356301E-2</c:v>
                </c:pt>
                <c:pt idx="9">
                  <c:v>2.7227868997096935E-2</c:v>
                </c:pt>
                <c:pt idx="10">
                  <c:v>2.2708925648279425E-2</c:v>
                </c:pt>
                <c:pt idx="11">
                  <c:v>2.2652237734616949E-2</c:v>
                </c:pt>
                <c:pt idx="12">
                  <c:v>2.0362425033916741E-2</c:v>
                </c:pt>
                <c:pt idx="13">
                  <c:v>1.9434593852225124E-2</c:v>
                </c:pt>
                <c:pt idx="14">
                  <c:v>1.7309623974287494E-2</c:v>
                </c:pt>
                <c:pt idx="15">
                  <c:v>1.7298725854840376E-2</c:v>
                </c:pt>
                <c:pt idx="16">
                  <c:v>1.7136017653726677E-2</c:v>
                </c:pt>
                <c:pt idx="17">
                  <c:v>1.5304390969490057E-2</c:v>
                </c:pt>
                <c:pt idx="18">
                  <c:v>1.4839844748560293E-2</c:v>
                </c:pt>
                <c:pt idx="19">
                  <c:v>1.4656438495701586E-2</c:v>
                </c:pt>
                <c:pt idx="20">
                  <c:v>1.4082015297102405E-2</c:v>
                </c:pt>
                <c:pt idx="21">
                  <c:v>1.3521880795126957E-2</c:v>
                </c:pt>
                <c:pt idx="22">
                  <c:v>1.246917355201865E-2</c:v>
                </c:pt>
                <c:pt idx="23">
                  <c:v>1.2222237784141207E-2</c:v>
                </c:pt>
                <c:pt idx="24">
                  <c:v>1.2016356444688103E-2</c:v>
                </c:pt>
                <c:pt idx="25">
                  <c:v>1.1992168141999578E-2</c:v>
                </c:pt>
                <c:pt idx="26">
                  <c:v>1.1775209634276505E-2</c:v>
                </c:pt>
                <c:pt idx="27">
                  <c:v>1.0856783460949112E-2</c:v>
                </c:pt>
                <c:pt idx="28">
                  <c:v>1.0560880604101697E-2</c:v>
                </c:pt>
                <c:pt idx="29">
                  <c:v>1.0370404113284657E-2</c:v>
                </c:pt>
                <c:pt idx="30">
                  <c:v>9.9046714319594477E-3</c:v>
                </c:pt>
                <c:pt idx="31">
                  <c:v>9.8895565123915639E-3</c:v>
                </c:pt>
                <c:pt idx="32">
                  <c:v>9.7337330885631668E-3</c:v>
                </c:pt>
                <c:pt idx="33">
                  <c:v>9.6158262483298038E-3</c:v>
                </c:pt>
                <c:pt idx="34">
                  <c:v>9.2909282141431706E-3</c:v>
                </c:pt>
                <c:pt idx="35">
                  <c:v>9.2720225711740156E-3</c:v>
                </c:pt>
                <c:pt idx="36">
                  <c:v>9.2645522559774342E-3</c:v>
                </c:pt>
                <c:pt idx="37">
                  <c:v>9.2559440337512209E-3</c:v>
                </c:pt>
                <c:pt idx="38">
                  <c:v>7.5665944355986486E-3</c:v>
                </c:pt>
                <c:pt idx="39">
                  <c:v>7.2362716381883232E-3</c:v>
                </c:pt>
                <c:pt idx="40">
                  <c:v>7.0315802248962266E-3</c:v>
                </c:pt>
                <c:pt idx="41">
                  <c:v>6.9523202991781533E-3</c:v>
                </c:pt>
                <c:pt idx="42">
                  <c:v>6.8462922984275556E-3</c:v>
                </c:pt>
                <c:pt idx="43">
                  <c:v>6.6532558733695965E-3</c:v>
                </c:pt>
                <c:pt idx="44">
                  <c:v>6.5849061591645459E-3</c:v>
                </c:pt>
                <c:pt idx="45">
                  <c:v>6.5194512600607966E-3</c:v>
                </c:pt>
                <c:pt idx="46">
                  <c:v>6.1459391141393859E-3</c:v>
                </c:pt>
                <c:pt idx="47">
                  <c:v>6.060073607638875E-3</c:v>
                </c:pt>
                <c:pt idx="48">
                  <c:v>5.5719679070018657E-3</c:v>
                </c:pt>
                <c:pt idx="49">
                  <c:v>5.2787116077312613E-3</c:v>
                </c:pt>
                <c:pt idx="50">
                  <c:v>5.238950181476144E-3</c:v>
                </c:pt>
                <c:pt idx="51">
                  <c:v>5.0462405594437479E-3</c:v>
                </c:pt>
                <c:pt idx="52">
                  <c:v>4.8459471158025349E-3</c:v>
                </c:pt>
                <c:pt idx="53">
                  <c:v>4.8183464426845967E-3</c:v>
                </c:pt>
                <c:pt idx="54">
                  <c:v>4.7200557003717085E-3</c:v>
                </c:pt>
                <c:pt idx="55">
                  <c:v>4.6029154185285963E-3</c:v>
                </c:pt>
                <c:pt idx="56">
                  <c:v>4.5436748897801282E-3</c:v>
                </c:pt>
                <c:pt idx="57">
                  <c:v>4.1708456179114775E-3</c:v>
                </c:pt>
                <c:pt idx="58">
                  <c:v>4.1143318736573528E-3</c:v>
                </c:pt>
                <c:pt idx="59">
                  <c:v>3.9557079862406752E-3</c:v>
                </c:pt>
                <c:pt idx="60">
                  <c:v>3.791172708677573E-3</c:v>
                </c:pt>
                <c:pt idx="61">
                  <c:v>3.6541995738441774E-3</c:v>
                </c:pt>
                <c:pt idx="62">
                  <c:v>3.4615747102425495E-3</c:v>
                </c:pt>
                <c:pt idx="63">
                  <c:v>3.0954825505912983E-3</c:v>
                </c:pt>
                <c:pt idx="64">
                  <c:v>3.0605274391434286E-3</c:v>
                </c:pt>
                <c:pt idx="65">
                  <c:v>2.791049912401197E-3</c:v>
                </c:pt>
                <c:pt idx="66">
                  <c:v>2.6895442312210062E-3</c:v>
                </c:pt>
                <c:pt idx="67">
                  <c:v>1.8713692085513569E-3</c:v>
                </c:pt>
                <c:pt idx="68">
                  <c:v>1.6543063753187367E-3</c:v>
                </c:pt>
                <c:pt idx="69">
                  <c:v>1.6407605937150069E-3</c:v>
                </c:pt>
                <c:pt idx="70">
                  <c:v>1.5100055341609085E-3</c:v>
                </c:pt>
                <c:pt idx="71">
                  <c:v>1.4967456268917237E-3</c:v>
                </c:pt>
                <c:pt idx="72">
                  <c:v>1.2951208662752513E-3</c:v>
                </c:pt>
                <c:pt idx="73">
                  <c:v>1.2343669819561284E-3</c:v>
                </c:pt>
                <c:pt idx="74">
                  <c:v>1.1572528655326424E-3</c:v>
                </c:pt>
                <c:pt idx="75">
                  <c:v>1.1246342779003102E-3</c:v>
                </c:pt>
                <c:pt idx="76">
                  <c:v>1.0849884856173584E-3</c:v>
                </c:pt>
                <c:pt idx="77">
                  <c:v>1.0082753009693288E-3</c:v>
                </c:pt>
                <c:pt idx="78">
                  <c:v>9.2065004631187747E-4</c:v>
                </c:pt>
                <c:pt idx="79">
                  <c:v>7.1736780908596143E-4</c:v>
                </c:pt>
                <c:pt idx="80">
                  <c:v>6.2087471997729425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Pro Age Color Face Fluid FPS50+ 5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spPr>
              <a:solidFill>
                <a:srgbClr val="7ECAC4"/>
              </a:solidFill>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7ECAC4"/>
              </a:solidFill>
            </c:spPr>
            <c:extLst>
              <c:ext xmlns:c16="http://schemas.microsoft.com/office/drawing/2014/chart" uri="{C3380CC4-5D6E-409C-BE32-E72D297353CC}">
                <c16:uniqueId val="{00000087-B2E8-4080-83D6-EECA18439E6A}"/>
              </c:ext>
            </c:extLst>
          </c:dPt>
          <c:dPt>
            <c:idx val="68"/>
            <c:invertIfNegative val="1"/>
            <c:bubble3D val="0"/>
            <c:spPr>
              <a:solidFill>
                <a:srgbClr val="006C6D"/>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r>
                      <a:rPr lang="en-US" sz="500">
                        <a:solidFill>
                          <a:srgbClr val="006C6D"/>
                        </a:solidFill>
                      </a:rPr>
                      <a:t>Beautycare Pro Age Color Face Fluid FPS50+ 5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Beautycare Pro Age Color Face Fluid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54116586337942E-2</c:v>
                </c:pt>
                <c:pt idx="1">
                  <c:v>5.7727009809229554E-2</c:v>
                </c:pt>
                <c:pt idx="2">
                  <c:v>5.1033229667225163E-2</c:v>
                </c:pt>
                <c:pt idx="3">
                  <c:v>4.5298994266683268E-2</c:v>
                </c:pt>
                <c:pt idx="4">
                  <c:v>4.3539845978341117E-2</c:v>
                </c:pt>
                <c:pt idx="5">
                  <c:v>4.3503334339193664E-2</c:v>
                </c:pt>
                <c:pt idx="6">
                  <c:v>3.562369311322839E-2</c:v>
                </c:pt>
                <c:pt idx="7">
                  <c:v>3.1174131128512989E-2</c:v>
                </c:pt>
                <c:pt idx="8">
                  <c:v>2.7958092011429406E-2</c:v>
                </c:pt>
                <c:pt idx="9">
                  <c:v>2.721719822032883E-2</c:v>
                </c:pt>
                <c:pt idx="10">
                  <c:v>2.2691604514689094E-2</c:v>
                </c:pt>
                <c:pt idx="11">
                  <c:v>2.2640358146830651E-2</c:v>
                </c:pt>
                <c:pt idx="12">
                  <c:v>2.0341978264644494E-2</c:v>
                </c:pt>
                <c:pt idx="13">
                  <c:v>1.9427710922205261E-2</c:v>
                </c:pt>
                <c:pt idx="14">
                  <c:v>1.7305253145110864E-2</c:v>
                </c:pt>
                <c:pt idx="15">
                  <c:v>1.7286023296873398E-2</c:v>
                </c:pt>
                <c:pt idx="16">
                  <c:v>1.7131845400897558E-2</c:v>
                </c:pt>
                <c:pt idx="17">
                  <c:v>1.528717494779972E-2</c:v>
                </c:pt>
                <c:pt idx="18">
                  <c:v>1.4817577628772239E-2</c:v>
                </c:pt>
                <c:pt idx="19">
                  <c:v>1.4636072421214166E-2</c:v>
                </c:pt>
                <c:pt idx="20">
                  <c:v>1.406738908200484E-2</c:v>
                </c:pt>
                <c:pt idx="21">
                  <c:v>1.3507021857534326E-2</c:v>
                </c:pt>
                <c:pt idx="22">
                  <c:v>1.2461700156210901E-2</c:v>
                </c:pt>
                <c:pt idx="23">
                  <c:v>1.2212222979255243E-2</c:v>
                </c:pt>
                <c:pt idx="24">
                  <c:v>1.2012942369161374E-2</c:v>
                </c:pt>
                <c:pt idx="25">
                  <c:v>1.1985340872291875E-2</c:v>
                </c:pt>
                <c:pt idx="26">
                  <c:v>1.1768079073363228E-2</c:v>
                </c:pt>
                <c:pt idx="27">
                  <c:v>1.0836051440423438E-2</c:v>
                </c:pt>
                <c:pt idx="28">
                  <c:v>1.0543960936807463E-2</c:v>
                </c:pt>
                <c:pt idx="29">
                  <c:v>1.0363034879322034E-2</c:v>
                </c:pt>
                <c:pt idx="30">
                  <c:v>9.8998653671740558E-3</c:v>
                </c:pt>
                <c:pt idx="31">
                  <c:v>9.864999044565342E-3</c:v>
                </c:pt>
                <c:pt idx="32">
                  <c:v>9.7225367793286541E-3</c:v>
                </c:pt>
                <c:pt idx="33">
                  <c:v>9.6102456031991346E-3</c:v>
                </c:pt>
                <c:pt idx="34">
                  <c:v>9.2777536078499281E-3</c:v>
                </c:pt>
                <c:pt idx="35">
                  <c:v>9.2552794413237726E-3</c:v>
                </c:pt>
                <c:pt idx="36">
                  <c:v>9.2537720042908216E-3</c:v>
                </c:pt>
                <c:pt idx="37">
                  <c:v>9.2352470874547034E-3</c:v>
                </c:pt>
                <c:pt idx="38">
                  <c:v>7.5514829751739451E-3</c:v>
                </c:pt>
                <c:pt idx="39">
                  <c:v>7.2229459769509582E-3</c:v>
                </c:pt>
                <c:pt idx="40">
                  <c:v>7.0120363132150617E-3</c:v>
                </c:pt>
                <c:pt idx="41">
                  <c:v>6.9429083315322316E-3</c:v>
                </c:pt>
                <c:pt idx="42">
                  <c:v>6.8441356362010375E-3</c:v>
                </c:pt>
                <c:pt idx="43">
                  <c:v>6.6461019631652365E-3</c:v>
                </c:pt>
                <c:pt idx="44">
                  <c:v>6.5740494131881081E-3</c:v>
                </c:pt>
                <c:pt idx="45">
                  <c:v>6.514025997116835E-3</c:v>
                </c:pt>
                <c:pt idx="46">
                  <c:v>6.1399886251435254E-3</c:v>
                </c:pt>
                <c:pt idx="47">
                  <c:v>6.046257235125212E-3</c:v>
                </c:pt>
                <c:pt idx="48">
                  <c:v>5.5619290598686319E-3</c:v>
                </c:pt>
                <c:pt idx="49">
                  <c:v>5.2729271885327087E-3</c:v>
                </c:pt>
                <c:pt idx="50">
                  <c:v>5.2225599465436099E-3</c:v>
                </c:pt>
                <c:pt idx="51">
                  <c:v>5.0381932067734281E-3</c:v>
                </c:pt>
                <c:pt idx="52">
                  <c:v>4.8412034938976976E-3</c:v>
                </c:pt>
                <c:pt idx="53">
                  <c:v>4.8133946380506032E-3</c:v>
                </c:pt>
                <c:pt idx="54">
                  <c:v>4.7132541160969637E-3</c:v>
                </c:pt>
                <c:pt idx="55">
                  <c:v>4.6009115274215457E-3</c:v>
                </c:pt>
                <c:pt idx="56">
                  <c:v>4.5382558913524048E-3</c:v>
                </c:pt>
                <c:pt idx="57">
                  <c:v>4.1662091711238093E-3</c:v>
                </c:pt>
                <c:pt idx="58">
                  <c:v>4.10809890659713E-3</c:v>
                </c:pt>
                <c:pt idx="59">
                  <c:v>3.9479956816420043E-3</c:v>
                </c:pt>
                <c:pt idx="60">
                  <c:v>3.7864404082746097E-3</c:v>
                </c:pt>
                <c:pt idx="61">
                  <c:v>3.64994275963162E-3</c:v>
                </c:pt>
                <c:pt idx="62">
                  <c:v>3.4584984668234674E-3</c:v>
                </c:pt>
                <c:pt idx="63">
                  <c:v>3.0910096478273443E-3</c:v>
                </c:pt>
                <c:pt idx="64">
                  <c:v>3.0573002873687046E-3</c:v>
                </c:pt>
                <c:pt idx="65">
                  <c:v>2.7895105206835031E-3</c:v>
                </c:pt>
                <c:pt idx="66">
                  <c:v>2.6846332831845254E-3</c:v>
                </c:pt>
                <c:pt idx="67">
                  <c:v>1.8661119795108259E-3</c:v>
                </c:pt>
                <c:pt idx="68">
                  <c:v>1.8168748342503862E-3</c:v>
                </c:pt>
                <c:pt idx="69">
                  <c:v>1.652367260858361E-3</c:v>
                </c:pt>
                <c:pt idx="70">
                  <c:v>1.6349626848318549E-3</c:v>
                </c:pt>
                <c:pt idx="71">
                  <c:v>1.5076557454510161E-3</c:v>
                </c:pt>
                <c:pt idx="72">
                  <c:v>1.4854052847174232E-3</c:v>
                </c:pt>
                <c:pt idx="73">
                  <c:v>1.292075900621999E-3</c:v>
                </c:pt>
                <c:pt idx="74">
                  <c:v>1.2309347209910283E-3</c:v>
                </c:pt>
                <c:pt idx="75">
                  <c:v>1.155553454898514E-3</c:v>
                </c:pt>
                <c:pt idx="76">
                  <c:v>1.1226724344538088E-3</c:v>
                </c:pt>
                <c:pt idx="77">
                  <c:v>1.082968795137088E-3</c:v>
                </c:pt>
                <c:pt idx="78">
                  <c:v>9.2110194257352175E-4</c:v>
                </c:pt>
                <c:pt idx="79">
                  <c:v>7.156792803173198E-4</c:v>
                </c:pt>
                <c:pt idx="80">
                  <c:v>6.1969934473004511E-4</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24/07/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4/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4/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4/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4/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4/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6.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7.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8.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2.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31.xml"/><Relationship Id="rId5" Type="http://schemas.openxmlformats.org/officeDocument/2006/relationships/chart" Target="../charts/chart30.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8" Type="http://schemas.openxmlformats.org/officeDocument/2006/relationships/chart" Target="../charts/chart36.xml"/><Relationship Id="rId3" Type="http://schemas.openxmlformats.org/officeDocument/2006/relationships/oleObject" Target="../embeddings/oleObject27.bin"/><Relationship Id="rId7" Type="http://schemas.openxmlformats.org/officeDocument/2006/relationships/chart" Target="../charts/chart35.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37.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oleObject" Target="../embeddings/oleObject27.bin"/><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11.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oleObject" Target="../embeddings/oleObject27.bin"/><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BE6A2-7AF5-2889-7937-4E84B600E19E}"/>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36CC03D-E8B6-2F00-2A46-3711EDE6617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6650739F-867B-984E-D477-1860F350BA6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4E2FC075-28A5-2741-BC1E-64EEB44C3935}"/>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FAEE1B7D-6309-EB6E-D320-53CDB6AC9E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10" name="Content Placeholder 9">
            <a:extLst>
              <a:ext uri="{FF2B5EF4-FFF2-40B4-BE49-F238E27FC236}">
                <a16:creationId xmlns:a16="http://schemas.microsoft.com/office/drawing/2014/main" id="{E645583D-D2BF-1B71-B808-D4CC58B95B7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0F8EBF6C-9FCF-E5A6-8CA1-3A6BCFF9D9BD}"/>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Advanced Protection</a:t>
            </a:r>
          </a:p>
        </p:txBody>
      </p:sp>
      <p:sp>
        <p:nvSpPr>
          <p:cNvPr id="8" name="Title 7">
            <a:extLst>
              <a:ext uri="{FF2B5EF4-FFF2-40B4-BE49-F238E27FC236}">
                <a16:creationId xmlns:a16="http://schemas.microsoft.com/office/drawing/2014/main" id="{909435F5-63A3-906F-12F5-3C8B9DC084B2}"/>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B9016D8-DAD3-670E-2AE3-A00538BEDA2B}"/>
              </a:ext>
            </a:extLst>
          </p:cNvPr>
          <p:cNvGraphicFramePr>
            <a:graphicFrameLocks/>
          </p:cNvGraphicFramePr>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669BE4EE-96BD-2B13-0EB0-CE37CBF75391}"/>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D7B337C5-3EF4-E30E-725C-664903285A32}"/>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95E1C9C5-52EA-5FB0-BECA-BA2794773C35}"/>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8666486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D8463B-9B0D-D10D-A992-C0BA608D3CCE}"/>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D03F644-CE74-BC2A-E3D5-F0D47C2D82E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8187C6F1-5975-6FC1-7DB8-FB5261D16956}"/>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F7AB3ADD-371F-2C3F-A62F-A9192CC6BEAC}"/>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3584E18B-5DEF-A764-D540-FA4EEE5356C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0" name="Content Placeholder 9">
            <a:extLst>
              <a:ext uri="{FF2B5EF4-FFF2-40B4-BE49-F238E27FC236}">
                <a16:creationId xmlns:a16="http://schemas.microsoft.com/office/drawing/2014/main" id="{5D17ABA8-AB21-491F-A3F2-C5C3BB308DC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A157D59F-0FC2-EC30-EBC0-E84E0396BDBD}"/>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Kids</a:t>
            </a:r>
          </a:p>
        </p:txBody>
      </p:sp>
      <p:sp>
        <p:nvSpPr>
          <p:cNvPr id="8" name="Title 7">
            <a:extLst>
              <a:ext uri="{FF2B5EF4-FFF2-40B4-BE49-F238E27FC236}">
                <a16:creationId xmlns:a16="http://schemas.microsoft.com/office/drawing/2014/main" id="{ACC27EED-076A-4244-95E4-504ACC1B044A}"/>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79CFAE9B-EDDF-B920-492C-09C02BF43140}"/>
              </a:ext>
            </a:extLst>
          </p:cNvPr>
          <p:cNvGraphicFramePr>
            <a:graphicFrameLocks/>
          </p:cNvGraphicFramePr>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F6FB67DA-7B3A-5557-7681-6522C9CFB368}"/>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C73CD438-5124-DF51-EDD5-670449AE5D5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74066E6B-FA11-41CC-EACC-CC1D871A976E}"/>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6098247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2C568A-BD42-839D-028C-05675B29262D}"/>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87F871C6-BA9C-3495-6F16-1184366D5A4E}"/>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FD0D6868-EA6E-2134-0EB4-905556303ADF}"/>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C0AF41F9-3C77-9841-93CF-0A84BAB7DE8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84F63C4-C6C7-FDD2-47C4-927F21920F9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99B621D9-7393-FAFD-8A15-45D235E9996D}"/>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464AD670-5C09-5C13-E37C-87E3D3890987}"/>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Kids</a:t>
            </a:r>
          </a:p>
        </p:txBody>
      </p:sp>
      <p:sp>
        <p:nvSpPr>
          <p:cNvPr id="3" name="Title 2">
            <a:extLst>
              <a:ext uri="{FF2B5EF4-FFF2-40B4-BE49-F238E27FC236}">
                <a16:creationId xmlns:a16="http://schemas.microsoft.com/office/drawing/2014/main" id="{6A39E88C-2F4A-FBB1-5EE0-AF9E1FB09D5C}"/>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0E32C0A-C403-9D2B-FE62-35586C3A2265}"/>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8B85DBE9-6AD3-BD6A-017E-ED23D5F8FEC0}"/>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575320C3-411F-6E3C-635A-1508838AF7BF}"/>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5548466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951A9-B596-81B4-0837-728F31E2BD1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D7193B7-5D2A-07E8-2380-C9467438588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1794F1F9-EBD3-1B47-E4F1-5452F86A8819}"/>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6C994354-E0AC-0265-BF07-14FDA5DC5919}"/>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760ED7AB-B35D-9EF0-6467-746BC93C45C1}"/>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8" name="Text Placeholder 7">
            <a:extLst>
              <a:ext uri="{FF2B5EF4-FFF2-40B4-BE49-F238E27FC236}">
                <a16:creationId xmlns:a16="http://schemas.microsoft.com/office/drawing/2014/main" id="{E99C826F-CF3C-1FAF-113D-0AEEF77BD6F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95264C95-DB22-DFDE-3BCF-CC0A5C1CE66A}"/>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Kids</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17BD7CA6-0D26-88A4-303E-1226FEFADE9D}"/>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9BFB22C8-1513-A5BC-6F8C-A7DCBAA4E287}"/>
              </a:ext>
            </a:extLst>
          </p:cNvPr>
          <p:cNvGraphicFramePr>
            <a:graphicFrameLocks noGrp="1"/>
          </p:cNvGraphicFramePr>
          <p:nvPr>
            <p:ph idx="4294967295"/>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Kids Sport Spray FPS50+ 2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Banana Boat Aqua Protect Sport Lotion FPS50+ 236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Banana Boat Dry Balance Sport Spray FPS50 17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Nivea Sun Protection &amp; Hydration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Banana Boat Aqua Protect Kids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8FB71EC6-094A-7D2C-4E48-4CFCD50BDE34}"/>
              </a:ext>
            </a:extLst>
          </p:cNvPr>
          <p:cNvGraphicFramePr>
            <a:graphicFrameLocks/>
          </p:cNvGraphicFramePr>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704706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C5C79B-6939-944F-437B-8E3C79DAFF78}"/>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E4B19876-7D11-03C3-3CEB-4335108A2458}"/>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A22C1C39-C9E3-B1DC-E19B-D159D876708B}"/>
              </a:ext>
            </a:extLst>
          </p:cNvPr>
          <p:cNvGraphicFramePr>
            <a:graphicFrameLocks/>
          </p:cNvGraphicFramePr>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CB399CDD-BD04-9D1C-C492-15510023B324}"/>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4E56F036-6979-387B-469B-0E0F7C15A7F1}"/>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AF27E645-660F-7233-AC13-839BFB495F3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10" name="Content Placeholder 9">
            <a:extLst>
              <a:ext uri="{FF2B5EF4-FFF2-40B4-BE49-F238E27FC236}">
                <a16:creationId xmlns:a16="http://schemas.microsoft.com/office/drawing/2014/main" id="{010F238F-41B4-3E34-05E6-C6E0E0373FE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FA034D94-0037-5E06-F80B-EFC5238872E2}"/>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Ozono</a:t>
            </a:r>
          </a:p>
        </p:txBody>
      </p:sp>
      <p:sp>
        <p:nvSpPr>
          <p:cNvPr id="8" name="Title 7">
            <a:extLst>
              <a:ext uri="{FF2B5EF4-FFF2-40B4-BE49-F238E27FC236}">
                <a16:creationId xmlns:a16="http://schemas.microsoft.com/office/drawing/2014/main" id="{DFA8D8CC-6DAB-0BE9-2DB7-62E8B812DA51}"/>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97B9BC2A-B7F0-427F-9766-791ED6EA5263}"/>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BFF91460-8F45-FFF4-F188-435CAA06A9CD}"/>
              </a:ext>
            </a:extLst>
          </p:cNvPr>
          <p:cNvGraphicFramePr>
            <a:graphicFrameLocks/>
          </p:cNvGraphicFramePr>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B3A28854-1EA0-4447-107E-889081055DB0}"/>
              </a:ext>
            </a:extLst>
          </p:cNvPr>
          <p:cNvGraphicFramePr>
            <a:graphicFrameLocks/>
          </p:cNvGraphicFramePr>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23A57C3C-5B2E-32EC-5471-3372EA6A3229}"/>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30F43026-E418-64EF-E2F3-DB7023EB0483}"/>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9782178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4BCDAD-9500-7216-8E12-C04203D3FCB6}"/>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26F8219F-0C9C-53DA-E10A-55BEA7C7DAF8}"/>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439D062-F61B-0CC3-E205-126690036AD9}"/>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93ACB143-9518-86E0-EC68-A057A6571C7F}"/>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ADB546EE-B489-7345-0C81-06896E71EFA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dirty="0"/>
          </a:p>
        </p:txBody>
      </p:sp>
      <p:sp>
        <p:nvSpPr>
          <p:cNvPr id="8" name="Text Placeholder 7">
            <a:extLst>
              <a:ext uri="{FF2B5EF4-FFF2-40B4-BE49-F238E27FC236}">
                <a16:creationId xmlns:a16="http://schemas.microsoft.com/office/drawing/2014/main" id="{0CB85334-48A1-D958-701C-D7579458091D}"/>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12F9A83F-7030-3968-D5AF-101406AB15D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Ozono</a:t>
            </a:r>
          </a:p>
        </p:txBody>
      </p:sp>
      <p:sp>
        <p:nvSpPr>
          <p:cNvPr id="3" name="Title 2">
            <a:extLst>
              <a:ext uri="{FF2B5EF4-FFF2-40B4-BE49-F238E27FC236}">
                <a16:creationId xmlns:a16="http://schemas.microsoft.com/office/drawing/2014/main" id="{3EE9735F-09C3-DA2F-EF79-0FE8927433CD}"/>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D7190BD3-6C8F-EA73-8576-24DF99F52C64}"/>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4E66B796-902A-6575-DEAE-9CE4F88AC8EF}"/>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1792ADD2-0CF2-46FC-EC6C-ABCA8B99CC25}"/>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6%</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0763458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DA6D3A-ED74-5D4C-CCA7-9A95C97A1DB5}"/>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CA24524-5BA5-577E-7F9F-AABAF2F4BBC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9E9C50E-AF17-1FB4-6245-94A581725721}"/>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E051FF0-344E-800B-13A7-C37F5F3D3B83}"/>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2BF6C5CE-BE5C-2650-EBBD-4B3A40F627B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8" name="Text Placeholder 7">
            <a:extLst>
              <a:ext uri="{FF2B5EF4-FFF2-40B4-BE49-F238E27FC236}">
                <a16:creationId xmlns:a16="http://schemas.microsoft.com/office/drawing/2014/main" id="{80440C75-A6D6-76DD-8056-B33C9AD3C7B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B72F9BEE-4160-08AD-A114-1AA940C2EEDD}"/>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Ozon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1DBDC6BF-D0BD-C217-068E-D593BBDC7248}"/>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BF865083-1A25-B2C6-44BD-488CA0AF92F0}"/>
              </a:ext>
            </a:extLst>
          </p:cNvPr>
          <p:cNvGraphicFramePr>
            <a:graphicFrameLocks noGrp="1"/>
          </p:cNvGraphicFramePr>
          <p:nvPr>
            <p:ph idx="4294967295"/>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Lotion FPS50+ 3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Stick FPS50+ 42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Ultra-Light FPS50+ 1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waiian Tropic Ozono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Nivea Sun Babies &amp; Kids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eutrogena Sun Fresh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33DD1BAE-2B6A-B0F6-FDB2-FE9AEEDF16EB}"/>
              </a:ext>
            </a:extLst>
          </p:cNvPr>
          <p:cNvGraphicFramePr>
            <a:graphicFrameLocks/>
          </p:cNvGraphicFramePr>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BC048325-B3F6-02BC-9981-30DD993C2450}"/>
              </a:ext>
            </a:extLst>
          </p:cNvPr>
          <p:cNvGraphicFramePr>
            <a:graphicFrameLocks/>
          </p:cNvGraphicFramePr>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E2E17661-1C8C-FF28-AB9B-985DD45D4F02}"/>
              </a:ext>
            </a:extLst>
          </p:cNvPr>
          <p:cNvGraphicFramePr>
            <a:graphicFrameLocks/>
          </p:cNvGraphicFramePr>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325958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B7826C-DB0B-26A1-5962-34D986F332DF}"/>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15D12DB-BE3D-7553-B8D3-9AC4BE79AEB8}"/>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6450F92F-F9A2-79AE-71E2-8C3EE46A962D}"/>
              </a:ext>
            </a:extLst>
          </p:cNvPr>
          <p:cNvGraphicFramePr>
            <a:graphicFrameLocks/>
          </p:cNvGraphicFramePr>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86BB8621-D31B-C24B-1869-AB9397396C85}"/>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80A5165A-D045-B1AC-F49B-D4400B43580A}"/>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D6B6BE04-D3CE-0E2A-5C72-181F01139D2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10" name="Content Placeholder 9">
            <a:extLst>
              <a:ext uri="{FF2B5EF4-FFF2-40B4-BE49-F238E27FC236}">
                <a16:creationId xmlns:a16="http://schemas.microsoft.com/office/drawing/2014/main" id="{814FBC23-E71F-2119-4365-14FAC0E089C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3A085518-0D41-0BAA-3F90-2CB186E5A57B}"/>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ilk Hydration</a:t>
            </a:r>
          </a:p>
        </p:txBody>
      </p:sp>
      <p:sp>
        <p:nvSpPr>
          <p:cNvPr id="8" name="Title 7">
            <a:extLst>
              <a:ext uri="{FF2B5EF4-FFF2-40B4-BE49-F238E27FC236}">
                <a16:creationId xmlns:a16="http://schemas.microsoft.com/office/drawing/2014/main" id="{DB5A72D8-1413-5B98-40A7-CD0EEE31436F}"/>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F3FAD950-D469-BC2B-85E2-CFFAEA910F7E}"/>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A9A61B78-87D7-10E3-D681-D55BD128F316}"/>
              </a:ext>
            </a:extLst>
          </p:cNvPr>
          <p:cNvGraphicFramePr>
            <a:graphicFrameLocks/>
          </p:cNvGraphicFramePr>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DB878751-8490-160E-BBC8-B749CA76218F}"/>
              </a:ext>
            </a:extLst>
          </p:cNvPr>
          <p:cNvGraphicFramePr>
            <a:graphicFrameLocks/>
          </p:cNvGraphicFramePr>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35A86D3D-3439-3338-9294-495BF153DB26}"/>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99C7025F-C51A-ED98-8DA8-02F2757FDD1F}"/>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41858651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C07C25-6539-3AE6-6516-D15978F78981}"/>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36847580-F43A-A6A1-81F8-ED9512F0E6B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2AC6BB9D-D0BB-D088-4D29-D04FADA9E030}"/>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E0A171A4-445B-8601-776E-0EA23F3F5415}"/>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7FADE056-C885-4C74-6D03-FD2F59A7C86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dirty="0"/>
          </a:p>
        </p:txBody>
      </p:sp>
      <p:sp>
        <p:nvSpPr>
          <p:cNvPr id="8" name="Text Placeholder 7">
            <a:extLst>
              <a:ext uri="{FF2B5EF4-FFF2-40B4-BE49-F238E27FC236}">
                <a16:creationId xmlns:a16="http://schemas.microsoft.com/office/drawing/2014/main" id="{028FAE16-469B-6E3B-A9F6-CA282C059C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4F54C244-03EA-303B-9F16-4019D7F9D25C}"/>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Silk Hydration</a:t>
            </a:r>
          </a:p>
        </p:txBody>
      </p:sp>
      <p:sp>
        <p:nvSpPr>
          <p:cNvPr id="3" name="Title 2">
            <a:extLst>
              <a:ext uri="{FF2B5EF4-FFF2-40B4-BE49-F238E27FC236}">
                <a16:creationId xmlns:a16="http://schemas.microsoft.com/office/drawing/2014/main" id="{8577C23A-43D8-B9D2-46D0-E773E6EB5740}"/>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01B195EF-6F8C-3897-81BC-6561835431BB}"/>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775D2C59-EFC4-54C8-67D8-DCFDD46DD2E9}"/>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1520538A-BD26-9BE5-C6F2-0017D0725D9D}"/>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8220149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B03192-E329-F718-8A33-B95DA9B19AC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0347253-C543-D095-DCF8-D099CA28C61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B1FEA9BF-A7FB-F1B3-09D1-72F506D7F0F9}"/>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6A8FE057-1B8F-52B6-BCB1-C2060D2CD012}"/>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9D5F5420-8AC9-1196-9494-32C1588D2BD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8" name="Text Placeholder 7">
            <a:extLst>
              <a:ext uri="{FF2B5EF4-FFF2-40B4-BE49-F238E27FC236}">
                <a16:creationId xmlns:a16="http://schemas.microsoft.com/office/drawing/2014/main" id="{FD047E58-BFBC-8C25-3272-BF9E8FDE6D3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20C45027-7D7D-B92C-D139-A458F1E036C5}"/>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Silk Hydration</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13E14FE8-5683-53C5-BD71-076B1B01F30E}"/>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CD82F73-BA0A-7EF2-1748-01B49C32D813}"/>
              </a:ext>
            </a:extLst>
          </p:cNvPr>
          <p:cNvGraphicFramePr>
            <a:graphicFrameLocks noGrp="1"/>
          </p:cNvGraphicFramePr>
          <p:nvPr>
            <p:ph idx="4294967295"/>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Serum FPS50 1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Lip balm FPS30 1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Glow Mist FPS50+ 1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waiian Tropic Ozono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Equate Sport Lotion FPS30 237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Hawaiian Tropic Sheer Touch Lotion FPS50 12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Babies &amp; Kids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ABE5154A-0A86-BF7D-A2BB-73C8780D20A2}"/>
              </a:ext>
            </a:extLst>
          </p:cNvPr>
          <p:cNvGraphicFramePr>
            <a:graphicFrameLocks/>
          </p:cNvGraphicFramePr>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BF753F77-DB76-823E-7E31-4AF1335553CE}"/>
              </a:ext>
            </a:extLst>
          </p:cNvPr>
          <p:cNvGraphicFramePr>
            <a:graphicFrameLocks/>
          </p:cNvGraphicFramePr>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D4A5593F-6B05-6B11-FBD0-D14382EC84CD}"/>
              </a:ext>
            </a:extLst>
          </p:cNvPr>
          <p:cNvGraphicFramePr>
            <a:graphicFrameLocks/>
          </p:cNvGraphicFramePr>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566523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2BB614-B71E-4B66-75EF-ED4ECFE8E20A}"/>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B7B970C-F93A-8574-4BC7-1CB7A8A546EE}"/>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47CAF22B-BC82-1E7D-84A9-61D26FA7079F}"/>
              </a:ext>
            </a:extLst>
          </p:cNvPr>
          <p:cNvGraphicFramePr>
            <a:graphicFrameLocks/>
          </p:cNvGraphicFramePr>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DC99EFCC-0B24-D640-000A-8888A86D94F3}"/>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C2791DD4-0868-7E1A-7F39-889CEED93085}"/>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B0B8D737-3478-92CE-7630-062D4C52DD8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10" name="Content Placeholder 9">
            <a:extLst>
              <a:ext uri="{FF2B5EF4-FFF2-40B4-BE49-F238E27FC236}">
                <a16:creationId xmlns:a16="http://schemas.microsoft.com/office/drawing/2014/main" id="{802610EA-43D8-C40A-9F92-A6DE686E5DC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A199DCB1-B99B-DE5E-6003-83B9FAE6D93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port</a:t>
            </a:r>
          </a:p>
        </p:txBody>
      </p:sp>
      <p:sp>
        <p:nvSpPr>
          <p:cNvPr id="8" name="Title 7">
            <a:extLst>
              <a:ext uri="{FF2B5EF4-FFF2-40B4-BE49-F238E27FC236}">
                <a16:creationId xmlns:a16="http://schemas.microsoft.com/office/drawing/2014/main" id="{A74D835E-2846-2778-BD10-14C5C43EB23A}"/>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F297F7B5-0B92-296E-A83E-F0AC7616559B}"/>
              </a:ext>
            </a:extLst>
          </p:cNvPr>
          <p:cNvGraphicFramePr>
            <a:graphicFrameLocks/>
          </p:cNvGraphicFramePr>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9FB0077A-2A19-79B7-BB96-C3E2DE0BB08C}"/>
              </a:ext>
            </a:extLst>
          </p:cNvPr>
          <p:cNvGraphicFramePr>
            <a:graphicFrameLocks/>
          </p:cNvGraphicFramePr>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ABE88BCC-96B0-1ABF-0747-995464F0C409}"/>
              </a:ext>
            </a:extLst>
          </p:cNvPr>
          <p:cNvGraphicFramePr>
            <a:graphicFrameLocks/>
          </p:cNvGraphicFramePr>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1DACA8F4-3F57-2B1D-F1AC-649E6EDBD100}"/>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42F349BE-1892-C2D0-D2BD-2BD5F00750C9}"/>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1A4A3FF2-0C0E-2152-3720-DFC8545B4354}"/>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41009124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890E4E-1B19-5416-1346-81DCD8318312}"/>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38D4932B-3342-1381-7EDD-D1B46B9412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E603509-EF9A-719A-744A-7BDEE505E32A}"/>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FFC8ED60-1123-CAFB-02B5-AC03CAF1882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32858AC2-7ED1-7C0C-0EF1-ADA3DD93C55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dirty="0"/>
          </a:p>
        </p:txBody>
      </p:sp>
      <p:sp>
        <p:nvSpPr>
          <p:cNvPr id="8" name="Text Placeholder 7">
            <a:extLst>
              <a:ext uri="{FF2B5EF4-FFF2-40B4-BE49-F238E27FC236}">
                <a16:creationId xmlns:a16="http://schemas.microsoft.com/office/drawing/2014/main" id="{5CAD941A-00E5-B7C1-5906-5ED39590D2A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DBF5193B-59B1-31E7-6D3B-554D000D0766}"/>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Advanced Protection</a:t>
            </a:r>
          </a:p>
        </p:txBody>
      </p:sp>
      <p:sp>
        <p:nvSpPr>
          <p:cNvPr id="3" name="Title 2">
            <a:extLst>
              <a:ext uri="{FF2B5EF4-FFF2-40B4-BE49-F238E27FC236}">
                <a16:creationId xmlns:a16="http://schemas.microsoft.com/office/drawing/2014/main" id="{5090F6E6-0FF4-E9A5-3E5E-D73C0E67FCB9}"/>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BD9546A7-BE59-7444-BC13-9961057D66AF}"/>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3C5906CF-9EB4-ADE4-751E-7C41F889ABF5}"/>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0EB8183B-C250-EC91-1C4F-C55286D9430E}"/>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7543129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9BDA75-7B62-9FC4-4B7A-34284CD6E2C3}"/>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795A1DA5-F721-4514-87D4-D0974CB2E42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B99A550-3F38-C0B0-FD14-FB0A4BE271FE}"/>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E15463D3-50E0-5D3A-E1E6-08CE9219E1A8}"/>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6C593C4-9B17-A6C5-298A-905AD82B88C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dirty="0"/>
          </a:p>
        </p:txBody>
      </p:sp>
      <p:sp>
        <p:nvSpPr>
          <p:cNvPr id="8" name="Text Placeholder 7">
            <a:extLst>
              <a:ext uri="{FF2B5EF4-FFF2-40B4-BE49-F238E27FC236}">
                <a16:creationId xmlns:a16="http://schemas.microsoft.com/office/drawing/2014/main" id="{D0EA0E65-9204-E114-C568-5C9D8F9FBCF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446F616A-2CFE-CA0D-3C8E-5CD621393364}"/>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Sport</a:t>
            </a:r>
          </a:p>
        </p:txBody>
      </p:sp>
      <p:sp>
        <p:nvSpPr>
          <p:cNvPr id="3" name="Title 2">
            <a:extLst>
              <a:ext uri="{FF2B5EF4-FFF2-40B4-BE49-F238E27FC236}">
                <a16:creationId xmlns:a16="http://schemas.microsoft.com/office/drawing/2014/main" id="{D67A0BB0-F504-7FE7-C521-3163B1FF5FC6}"/>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BBDEE7E4-826B-93E7-4D51-4C0707F05231}"/>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D62B0054-88D9-990C-C631-05EAED9D903C}"/>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C3163C18-1335-1B43-03D8-E4F8B8A68787}"/>
              </a:ext>
            </a:extLst>
          </p:cNvPr>
          <p:cNvGraphicFramePr>
            <a:graphicFrameLocks/>
          </p:cNvGraphicFramePr>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6337290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0C93BB-0BB4-AAEF-E336-12C638188DA5}"/>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7E6D020D-A624-587D-4E3B-28F83951D798}"/>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7376B92-4480-DAB2-F0CC-0901CB8AA0D3}"/>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F525ADE4-A148-5EB3-7187-DAEA3A6C95D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B347059D-7DF8-9016-8E27-A89EE4A3F70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8" name="Text Placeholder 7">
            <a:extLst>
              <a:ext uri="{FF2B5EF4-FFF2-40B4-BE49-F238E27FC236}">
                <a16:creationId xmlns:a16="http://schemas.microsoft.com/office/drawing/2014/main" id="{3E7B564B-5EDD-AEB6-C99B-348589BAA49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07B2C27A-883C-EDE8-B190-2756ABBEB6A7}"/>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Sport</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72D96E40-1259-20D4-F14F-7F78F14326AF}"/>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5B9F42EE-9872-800B-13F8-32D1C06E41D0}"/>
              </a:ext>
            </a:extLst>
          </p:cNvPr>
          <p:cNvGraphicFramePr>
            <a:graphicFrameLocks noGrp="1"/>
          </p:cNvGraphicFramePr>
          <p:nvPr>
            <p:ph idx="4294967295"/>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Aqua Protect Sport Spray FPS50+ 2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Dry Balance Sport Stick FPS50+ 4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Dry Balance Sport Aerosol FPS50+ 2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Sport Lotion FPS50+ 354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Dry Balance Sport Spray FPS50 17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7402BDCC-7B37-8EC5-46F2-9E91F3A54258}"/>
              </a:ext>
            </a:extLst>
          </p:cNvPr>
          <p:cNvGraphicFramePr>
            <a:graphicFrameLocks/>
          </p:cNvGraphicFramePr>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DF266254-0796-9EAB-17B1-F18E1206DAA8}"/>
              </a:ext>
            </a:extLst>
          </p:cNvPr>
          <p:cNvGraphicFramePr>
            <a:graphicFrameLocks/>
          </p:cNvGraphicFramePr>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65E84230-A7E1-3F2B-BE83-76FBDA9020C8}"/>
              </a:ext>
            </a:extLst>
          </p:cNvPr>
          <p:cNvGraphicFramePr>
            <a:graphicFrameLocks/>
          </p:cNvGraphicFramePr>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06519BC5-DE5F-1ACD-B3C4-652715BC5DC6}"/>
              </a:ext>
            </a:extLst>
          </p:cNvPr>
          <p:cNvGraphicFramePr>
            <a:graphicFrameLocks/>
          </p:cNvGraphicFramePr>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3570460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0843FD-A2E3-AA50-5523-39020AB21A9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61C5838-2322-4D54-BD23-AB2DC0FB28D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D304D393-3DB3-6015-E937-B871B2A1F00D}"/>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179632B-D2DD-74FD-13F6-D40CCC542C76}"/>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CA4BD179-A8C1-3229-C8B9-43978351E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8" name="Text Placeholder 7">
            <a:extLst>
              <a:ext uri="{FF2B5EF4-FFF2-40B4-BE49-F238E27FC236}">
                <a16:creationId xmlns:a16="http://schemas.microsoft.com/office/drawing/2014/main" id="{486BB2EB-7D43-E939-1775-5B367C417DF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265AE1CF-2319-6009-7888-DC0845E47E0F}"/>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Advanced Protection</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7D98376-D4F1-BC68-E722-0430464E66EF}"/>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6F12D3A2-9DA3-93E2-B0AF-0D3B750DF811}"/>
              </a:ext>
            </a:extLst>
          </p:cNvPr>
          <p:cNvGraphicFramePr>
            <a:graphicFrameLocks noGrp="1"/>
          </p:cNvGraphicFramePr>
          <p:nvPr>
            <p:ph idx="4294967295"/>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Advanced Protection Lotion FPS50+ 36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Hawaiian Tropic Island Sport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Hawaiian Tropic Sheer Touch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Nivea Sun Protection &amp; Hydration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C9D145D4-0AF8-A4C9-87E5-874BAB883515}"/>
              </a:ext>
            </a:extLst>
          </p:cNvPr>
          <p:cNvGraphicFramePr>
            <a:graphicFrameLocks/>
          </p:cNvGraphicFramePr>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078744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F94CB5-53EB-D673-37B8-F4CFAF56A767}"/>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341685D-BA71-E417-4411-8FE47BF13E0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ECF182-6097-83AA-1F93-5801CC81673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2BC23F6E-526F-3C3A-DA2F-601386DA5D9E}"/>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F8EBAA0D-EAF4-94C6-E092-F0FD6D2F52B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DDC02895-A374-DD98-D44C-E82E6C915D6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A3894B55-4516-3F9B-ABBF-69EF0B07E725}"/>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aby</a:t>
            </a:r>
          </a:p>
        </p:txBody>
      </p:sp>
      <p:sp>
        <p:nvSpPr>
          <p:cNvPr id="8" name="Title 7">
            <a:extLst>
              <a:ext uri="{FF2B5EF4-FFF2-40B4-BE49-F238E27FC236}">
                <a16:creationId xmlns:a16="http://schemas.microsoft.com/office/drawing/2014/main" id="{B241BE9F-9EC9-2DC4-08C1-31DEE299102F}"/>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1406A60-7535-F7DB-0267-1CC58B519DA9}"/>
              </a:ext>
            </a:extLst>
          </p:cNvPr>
          <p:cNvGraphicFramePr>
            <a:graphicFrameLocks/>
          </p:cNvGraphicFramePr>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AF602DD3-72DE-D085-687C-AD255CF4BD5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AAD76048-5216-D0F0-7FA1-C89340F6807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3F3B2E59-C177-A6DC-32CE-B912D7C4B2DC}"/>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1877672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A4C7A8-B3BE-466A-92A1-E37D753102ED}"/>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79C22528-4C00-BE00-B1D9-A5AF1837CCE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65BA5F28-A0FD-5CDF-F4AC-B8446F63FFE0}"/>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AC4DBF8D-EF06-A0A1-4388-0ADCB4DDE1A5}"/>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63F01B1D-2105-B8C4-46C7-3C31B8A503F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dirty="0"/>
          </a:p>
        </p:txBody>
      </p:sp>
      <p:sp>
        <p:nvSpPr>
          <p:cNvPr id="8" name="Text Placeholder 7">
            <a:extLst>
              <a:ext uri="{FF2B5EF4-FFF2-40B4-BE49-F238E27FC236}">
                <a16:creationId xmlns:a16="http://schemas.microsoft.com/office/drawing/2014/main" id="{787FC6F0-C27D-4BEA-90C2-B40CC7F0621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AC91CC3E-DDC6-56B0-296D-90825BEA708E}"/>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aby</a:t>
            </a:r>
          </a:p>
        </p:txBody>
      </p:sp>
      <p:sp>
        <p:nvSpPr>
          <p:cNvPr id="3" name="Title 2">
            <a:extLst>
              <a:ext uri="{FF2B5EF4-FFF2-40B4-BE49-F238E27FC236}">
                <a16:creationId xmlns:a16="http://schemas.microsoft.com/office/drawing/2014/main" id="{132D25C0-CE5C-EA3C-F693-65D1CF21ABE8}"/>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EA9D14AC-1673-BFFE-4AC0-B1F57F7B6B3F}"/>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579B32E8-D109-C060-60E7-E4736BE6BA65}"/>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BE82C3AF-AE2B-F082-4E7A-FE4C2142B311}"/>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3579368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BE01A7-46E5-6B11-E479-83642F4C2E15}"/>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9CD652AA-4BE7-F334-5298-4478451B6BF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44B1315-80C2-CEA3-2B47-76952099C795}"/>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6497F1D4-8265-4C80-D641-6C45B421FB2C}"/>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88398F95-FF3B-108C-DB79-A57B0E7EA54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8" name="Text Placeholder 7">
            <a:extLst>
              <a:ext uri="{FF2B5EF4-FFF2-40B4-BE49-F238E27FC236}">
                <a16:creationId xmlns:a16="http://schemas.microsoft.com/office/drawing/2014/main" id="{3B617748-FD84-2509-D81D-AFE87DCAA2E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4DF0C257-544C-B42D-A454-C642DD7E9F1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aby</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58ED21DC-9171-8CAF-67C0-9A0F78EF1035}"/>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6B5E48B2-AEC4-3B6F-33E7-87D350C3D956}"/>
              </a:ext>
            </a:extLst>
          </p:cNvPr>
          <p:cNvGraphicFramePr>
            <a:graphicFrameLocks noGrp="1"/>
          </p:cNvGraphicFramePr>
          <p:nvPr>
            <p:ph idx="4294967295"/>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Baby Lotion FPS50+ 177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Banana Boat Aqua Protect Kids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A7240F5B-0CD6-57CF-2BCA-7BE000BE340A}"/>
              </a:ext>
            </a:extLst>
          </p:cNvPr>
          <p:cNvGraphicFramePr>
            <a:graphicFrameLocks/>
          </p:cNvGraphicFramePr>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27992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5C3392-6CD9-FD79-A939-A9B816DA34A4}"/>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8878EF3-F023-15C9-2757-F3C576EF62D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FE20589E-EC46-B363-2E7C-94395369A313}"/>
              </a:ext>
            </a:extLst>
          </p:cNvPr>
          <p:cNvGraphicFramePr>
            <a:graphicFrameLocks/>
          </p:cNvGraphicFramePr>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694DBF82-DA5C-5C26-7933-3D26DD6678C4}"/>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48CC46F9-5B99-293D-6A53-40F8F0C8584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C7B6AC0-7F8B-C25C-813E-5AEEB06C350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48C57513-4911-F008-7655-C02D6951897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8369CF45-4C36-0C51-DFAC-17AE329CD608}"/>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eautycare</a:t>
            </a:r>
          </a:p>
        </p:txBody>
      </p:sp>
      <p:sp>
        <p:nvSpPr>
          <p:cNvPr id="8" name="Title 7">
            <a:extLst>
              <a:ext uri="{FF2B5EF4-FFF2-40B4-BE49-F238E27FC236}">
                <a16:creationId xmlns:a16="http://schemas.microsoft.com/office/drawing/2014/main" id="{9B212DA8-7F1B-E205-58EC-9D15534DF2E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D3E2A24-1C23-166C-8D6F-D5AAEEFEEF72}"/>
              </a:ext>
            </a:extLst>
          </p:cNvPr>
          <p:cNvGraphicFramePr>
            <a:graphicFrameLocks/>
          </p:cNvGraphicFramePr>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D4BE3087-77DE-4C90-F7D9-3751F05314E1}"/>
              </a:ext>
            </a:extLst>
          </p:cNvPr>
          <p:cNvGraphicFramePr>
            <a:graphicFrameLocks/>
          </p:cNvGraphicFramePr>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8DDAF6F0-EB45-C53B-298D-8132DB8C762C}"/>
              </a:ext>
            </a:extLst>
          </p:cNvPr>
          <p:cNvGraphicFramePr>
            <a:graphicFrameLocks/>
          </p:cNvGraphicFramePr>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516D7094-224F-A86C-AF2F-519063865ABF}"/>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B8D42060-A632-03FF-5F50-9C64E2E44BB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48172FBF-3BAA-945E-03B3-2AB8A8ABA961}"/>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6852270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2B1EFF-68C6-B7E1-6AAE-8DE4B937CCDC}"/>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48D343A-C756-1490-575E-40CA68F0EF5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ABD88A9D-E492-DE8C-F26A-5997BB5938EF}"/>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2057DA2B-39C0-6928-DBC6-6A80AD7BA23D}"/>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88A5DC84-F3C4-740E-3ABB-79097422F0C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dirty="0"/>
          </a:p>
        </p:txBody>
      </p:sp>
      <p:sp>
        <p:nvSpPr>
          <p:cNvPr id="8" name="Text Placeholder 7">
            <a:extLst>
              <a:ext uri="{FF2B5EF4-FFF2-40B4-BE49-F238E27FC236}">
                <a16:creationId xmlns:a16="http://schemas.microsoft.com/office/drawing/2014/main" id="{DC820954-9683-E526-0D18-8C5A93DFAB5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604F437D-2E6E-5EAB-43B9-CC40862F06AE}"/>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eautycare</a:t>
            </a:r>
          </a:p>
        </p:txBody>
      </p:sp>
      <p:sp>
        <p:nvSpPr>
          <p:cNvPr id="3" name="Title 2">
            <a:extLst>
              <a:ext uri="{FF2B5EF4-FFF2-40B4-BE49-F238E27FC236}">
                <a16:creationId xmlns:a16="http://schemas.microsoft.com/office/drawing/2014/main" id="{12D232AE-A764-5AC6-9BCE-38540A1870E9}"/>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B49359F4-4C63-853B-9BC5-A9F9510A8D28}"/>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367D8ED1-8F19-A8F1-AED1-8E7FD523210A}"/>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C57B3794-D1C2-AD4D-084E-5B097A52A47A}"/>
              </a:ext>
            </a:extLst>
          </p:cNvPr>
          <p:cNvGraphicFramePr>
            <a:graphicFrameLocks/>
          </p:cNvGraphicFramePr>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4%</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5260267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F571DD-8E04-32F8-FBC6-3E08CDC21BA9}"/>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7F33DBE2-D010-6814-CE8E-7079467F5E7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BC473812-624F-2B0F-3EFE-89510826A698}"/>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CD5B14D9-B195-F9F8-D8CF-A0669108622A}"/>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A4A9C597-492F-8BDB-2A74-12B58286D98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8" name="Text Placeholder 7">
            <a:extLst>
              <a:ext uri="{FF2B5EF4-FFF2-40B4-BE49-F238E27FC236}">
                <a16:creationId xmlns:a16="http://schemas.microsoft.com/office/drawing/2014/main" id="{52C14D0E-1694-4441-60D4-4BE462D001BD}"/>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70C16E5B-6535-1B6E-5923-E3D66D1B4204}"/>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eautycare</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B5FAF25F-BAC7-B6ED-2C6D-B673EA6D4A88}"/>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E58B3C93-839A-6E53-C595-D051B0A0AB83}"/>
              </a:ext>
            </a:extLst>
          </p:cNvPr>
          <p:cNvGraphicFramePr>
            <a:graphicFrameLocks noGrp="1"/>
          </p:cNvGraphicFramePr>
          <p:nvPr>
            <p:ph idx="4294967295"/>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Stick FPS50 2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Serum FPS50 3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Pro Age Color Face Fluid FPS50+ 5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Lip Oil FPS50+ 1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Neutrogena Sun Fresh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Nivea Sun Kids Swim &amp; Play Gel FPS50+ 15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Face Shine Control FPS50+ 5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6439EAD4-D34C-0861-F67D-84B7E4412570}"/>
              </a:ext>
            </a:extLst>
          </p:cNvPr>
          <p:cNvGraphicFramePr>
            <a:graphicFrameLocks/>
          </p:cNvGraphicFramePr>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35513A82-1AA2-BA09-CA4D-F5498FE9E939}"/>
              </a:ext>
            </a:extLst>
          </p:cNvPr>
          <p:cNvGraphicFramePr>
            <a:graphicFrameLocks/>
          </p:cNvGraphicFramePr>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13610797-BCCA-0B3B-5166-28FDACE6E7A5}"/>
              </a:ext>
            </a:extLst>
          </p:cNvPr>
          <p:cNvGraphicFramePr>
            <a:graphicFrameLocks/>
          </p:cNvGraphicFramePr>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7F7985E-368D-378F-CAFE-7CEA5E0AD542}"/>
              </a:ext>
            </a:extLst>
          </p:cNvPr>
          <p:cNvGraphicFramePr>
            <a:graphicFrameLocks/>
          </p:cNvGraphicFramePr>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546872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3.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050</Words>
  <Application>Microsoft Office PowerPoint</Application>
  <PresentationFormat>On-screen Show (16:9)</PresentationFormat>
  <Paragraphs>524</Paragraphs>
  <Slides>21</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1" baseType="lpstr">
      <vt:lpstr>Aptos</vt:lpstr>
      <vt:lpstr>Arial</vt:lpstr>
      <vt:lpstr>Nexa</vt:lpstr>
      <vt:lpstr>Nexa Bold</vt:lpstr>
      <vt:lpstr>Nexa Bold (Headings)</vt:lpstr>
      <vt:lpstr>Nexa Book</vt:lpstr>
      <vt:lpstr>Nexa Book Italic</vt:lpstr>
      <vt:lpstr>Open Sans</vt:lpstr>
      <vt:lpstr>PricingOne Light Template Oct 2024</vt:lpstr>
      <vt:lpstr>think-cell Slide</vt:lpstr>
      <vt:lpstr>Innovation ranking (Replace with SO WHAT)</vt:lpstr>
      <vt:lpstr>Innovation potential (Replace with SO WHAT)</vt:lpstr>
      <vt:lpstr>Innovation sourcing (Replace with SO WHAT)</vt:lpstr>
      <vt:lpstr>Innovation ranking (Replace with SO WHAT)</vt:lpstr>
      <vt:lpstr>Innovation potential (Replace with SO WHAT)</vt:lpstr>
      <vt:lpstr>Innovation sourcing (Replace with SO WHAT)</vt:lpstr>
      <vt:lpstr>Innovation ranking (Replace with SO WHAT)</vt:lpstr>
      <vt:lpstr>Innovation potential (Replace with SO WHAT)</vt:lpstr>
      <vt:lpstr>Innovation sourcing (Replace with SO WHAT)</vt:lpstr>
      <vt:lpstr>Innovation ranking (Replace with SO WHAT)</vt:lpstr>
      <vt:lpstr>Innovation potential (Replace with SO WHAT)</vt:lpstr>
      <vt:lpstr>Innovation sourcing (Replace with SO WHAT)</vt:lpstr>
      <vt:lpstr>Innovation ranking (Replace with SO WHAT)</vt:lpstr>
      <vt:lpstr>Innovation potential (Replace with SO WHAT)</vt:lpstr>
      <vt:lpstr>Innovation sourcing (Replace with SO WHAT)</vt:lpstr>
      <vt:lpstr>Innovation ranking (Replace with SO WHAT)</vt:lpstr>
      <vt:lpstr>Innovation potential (Replace with SO WHAT)</vt:lpstr>
      <vt:lpstr>Innovation sourcing (Replace with SO WHAT)</vt:lpstr>
      <vt:lpstr>Innovation ranking (Replace with SO WHAT)</vt:lpstr>
      <vt:lpstr>Innovation potential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5</cp:revision>
  <dcterms:created xsi:type="dcterms:W3CDTF">2024-07-08T12:20:01Z</dcterms:created>
  <dcterms:modified xsi:type="dcterms:W3CDTF">2025-07-24T11:5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